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8"/>
  </p:notesMasterIdLst>
  <p:sldIdLst>
    <p:sldId id="259" r:id="rId2"/>
    <p:sldId id="257" r:id="rId3"/>
    <p:sldId id="258" r:id="rId4"/>
    <p:sldId id="1505" r:id="rId5"/>
    <p:sldId id="1508" r:id="rId6"/>
    <p:sldId id="2134805384" r:id="rId7"/>
    <p:sldId id="2134805382" r:id="rId8"/>
    <p:sldId id="2134805383" r:id="rId9"/>
    <p:sldId id="2134805385" r:id="rId10"/>
    <p:sldId id="2134805386" r:id="rId11"/>
    <p:sldId id="968" r:id="rId12"/>
    <p:sldId id="1515" r:id="rId13"/>
    <p:sldId id="2134805399" r:id="rId14"/>
    <p:sldId id="1517" r:id="rId15"/>
    <p:sldId id="2134805400" r:id="rId16"/>
    <p:sldId id="2134805580" r:id="rId17"/>
    <p:sldId id="2134805401" r:id="rId18"/>
    <p:sldId id="2134805403" r:id="rId19"/>
    <p:sldId id="2134805404" r:id="rId20"/>
    <p:sldId id="2134805405" r:id="rId21"/>
    <p:sldId id="2134805406" r:id="rId22"/>
    <p:sldId id="2134805579" r:id="rId23"/>
    <p:sldId id="1513" r:id="rId24"/>
    <p:sldId id="1522" r:id="rId25"/>
    <p:sldId id="1523" r:id="rId26"/>
    <p:sldId id="256" r:id="rId27"/>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48"/>
    <p:restoredTop sz="94694"/>
  </p:normalViewPr>
  <p:slideViewPr>
    <p:cSldViewPr snapToGrid="0">
      <p:cViewPr varScale="1">
        <p:scale>
          <a:sx n="87" d="100"/>
          <a:sy n="87" d="100"/>
        </p:scale>
        <p:origin x="22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0B5231-5D1E-4405-AB83-34D8FE072D9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214E814-8DD2-467A-8FBF-5DFF94E90FC9}">
      <dgm:prSet/>
      <dgm:spPr/>
      <dgm:t>
        <a:bodyPr/>
        <a:lstStyle/>
        <a:p>
          <a:r>
            <a:rPr lang="tr-TR" b="1" i="1" u="sng" dirty="0"/>
            <a:t>Arızaların erken tespit edilmesinin önemi nedir?</a:t>
          </a:r>
          <a:br>
            <a:rPr lang="tr-TR" b="1" i="1" u="sng" dirty="0"/>
          </a:br>
          <a:br>
            <a:rPr lang="tr-TR" i="1" u="sng" dirty="0"/>
          </a:br>
          <a:r>
            <a:rPr lang="tr-TR" i="1" dirty="0"/>
            <a:t>Aynı tıp alanında olduğu gibi,  insan sağlığında erken teşhis ne kadar önemli ise, makina sağlığında da erken teşhis çok önemlidir.</a:t>
          </a:r>
          <a:endParaRPr lang="en-US" dirty="0"/>
        </a:p>
      </dgm:t>
    </dgm:pt>
    <dgm:pt modelId="{1D5A525C-192F-4889-B804-45B1C4B1E231}" type="parTrans" cxnId="{348C787C-F3AA-4F91-A76C-98A821C12ECA}">
      <dgm:prSet/>
      <dgm:spPr/>
      <dgm:t>
        <a:bodyPr/>
        <a:lstStyle/>
        <a:p>
          <a:endParaRPr lang="en-US"/>
        </a:p>
      </dgm:t>
    </dgm:pt>
    <dgm:pt modelId="{FDBA8435-901F-4F22-9FF0-104637B81A4F}" type="sibTrans" cxnId="{348C787C-F3AA-4F91-A76C-98A821C12ECA}">
      <dgm:prSet/>
      <dgm:spPr/>
      <dgm:t>
        <a:bodyPr/>
        <a:lstStyle/>
        <a:p>
          <a:endParaRPr lang="en-US"/>
        </a:p>
      </dgm:t>
    </dgm:pt>
    <dgm:pt modelId="{D59FADCF-A8BB-4283-A43E-1923F50691AF}">
      <dgm:prSet/>
      <dgm:spPr/>
      <dgm:t>
        <a:bodyPr/>
        <a:lstStyle/>
        <a:p>
          <a:r>
            <a:rPr lang="tr-TR" i="1" dirty="0"/>
            <a:t>İnsan sağlığında erken teşhisle beraber gerekli tedavi ve önlemlerle hastalığın ilerlemesi, başka organlara sirayet ederek büyümesi ve yayılmasının önlenebiliyor olması önemli ise,</a:t>
          </a:r>
          <a:endParaRPr lang="en-US" dirty="0"/>
        </a:p>
      </dgm:t>
    </dgm:pt>
    <dgm:pt modelId="{9080C33E-719B-46A6-9AF2-E1359DB53826}" type="parTrans" cxnId="{A285663F-9D07-4501-8902-4ECF70084EB1}">
      <dgm:prSet/>
      <dgm:spPr/>
      <dgm:t>
        <a:bodyPr/>
        <a:lstStyle/>
        <a:p>
          <a:endParaRPr lang="en-US"/>
        </a:p>
      </dgm:t>
    </dgm:pt>
    <dgm:pt modelId="{06F3DB50-431B-493F-AD55-649EDCC77C4B}" type="sibTrans" cxnId="{A285663F-9D07-4501-8902-4ECF70084EB1}">
      <dgm:prSet/>
      <dgm:spPr/>
      <dgm:t>
        <a:bodyPr/>
        <a:lstStyle/>
        <a:p>
          <a:endParaRPr lang="en-US"/>
        </a:p>
      </dgm:t>
    </dgm:pt>
    <dgm:pt modelId="{54C317CD-B72E-4E6F-BDE5-DD987C5D289F}">
      <dgm:prSet/>
      <dgm:spPr/>
      <dgm:t>
        <a:bodyPr/>
        <a:lstStyle/>
        <a:p>
          <a:r>
            <a:rPr lang="tr-TR" i="1"/>
            <a:t>Makina sağlığında da arızanın başlangıç aşamasında tespit edilmesi ve arızanın daha kötü sonuçlara yol açmadan önlenebilmesi de çok önemlidir.</a:t>
          </a:r>
          <a:endParaRPr lang="en-US"/>
        </a:p>
      </dgm:t>
    </dgm:pt>
    <dgm:pt modelId="{3849FB15-AFA4-4D50-BF3C-0F8AAD5CCD1F}" type="parTrans" cxnId="{EE50EE9B-E350-44AC-9067-16A9E4683394}">
      <dgm:prSet/>
      <dgm:spPr/>
      <dgm:t>
        <a:bodyPr/>
        <a:lstStyle/>
        <a:p>
          <a:endParaRPr lang="en-US"/>
        </a:p>
      </dgm:t>
    </dgm:pt>
    <dgm:pt modelId="{851128D3-79CE-4A1A-95EC-CFDE98FCAC4A}" type="sibTrans" cxnId="{EE50EE9B-E350-44AC-9067-16A9E4683394}">
      <dgm:prSet/>
      <dgm:spPr/>
      <dgm:t>
        <a:bodyPr/>
        <a:lstStyle/>
        <a:p>
          <a:endParaRPr lang="en-US"/>
        </a:p>
      </dgm:t>
    </dgm:pt>
    <dgm:pt modelId="{79702EEE-0AF9-457C-8076-CDED0ACBDFB2}" type="pres">
      <dgm:prSet presAssocID="{420B5231-5D1E-4405-AB83-34D8FE072D93}" presName="linear" presStyleCnt="0">
        <dgm:presLayoutVars>
          <dgm:animLvl val="lvl"/>
          <dgm:resizeHandles val="exact"/>
        </dgm:presLayoutVars>
      </dgm:prSet>
      <dgm:spPr/>
    </dgm:pt>
    <dgm:pt modelId="{91D29F98-31C1-41EB-88AB-4CE0746BD45A}" type="pres">
      <dgm:prSet presAssocID="{3214E814-8DD2-467A-8FBF-5DFF94E90FC9}" presName="parentText" presStyleLbl="node1" presStyleIdx="0" presStyleCnt="3">
        <dgm:presLayoutVars>
          <dgm:chMax val="0"/>
          <dgm:bulletEnabled val="1"/>
        </dgm:presLayoutVars>
      </dgm:prSet>
      <dgm:spPr/>
    </dgm:pt>
    <dgm:pt modelId="{AB692F6B-C411-4177-9EA4-F316BC877D67}" type="pres">
      <dgm:prSet presAssocID="{FDBA8435-901F-4F22-9FF0-104637B81A4F}" presName="spacer" presStyleCnt="0"/>
      <dgm:spPr/>
    </dgm:pt>
    <dgm:pt modelId="{4399F4B9-0DF9-4A9B-850D-536D0DBB116B}" type="pres">
      <dgm:prSet presAssocID="{D59FADCF-A8BB-4283-A43E-1923F50691AF}" presName="parentText" presStyleLbl="node1" presStyleIdx="1" presStyleCnt="3">
        <dgm:presLayoutVars>
          <dgm:chMax val="0"/>
          <dgm:bulletEnabled val="1"/>
        </dgm:presLayoutVars>
      </dgm:prSet>
      <dgm:spPr/>
    </dgm:pt>
    <dgm:pt modelId="{9CF459B9-5528-4F38-99FD-30A0A1121872}" type="pres">
      <dgm:prSet presAssocID="{06F3DB50-431B-493F-AD55-649EDCC77C4B}" presName="spacer" presStyleCnt="0"/>
      <dgm:spPr/>
    </dgm:pt>
    <dgm:pt modelId="{A12E704A-E9B4-4B37-AC49-1A95CE819528}" type="pres">
      <dgm:prSet presAssocID="{54C317CD-B72E-4E6F-BDE5-DD987C5D289F}" presName="parentText" presStyleLbl="node1" presStyleIdx="2" presStyleCnt="3">
        <dgm:presLayoutVars>
          <dgm:chMax val="0"/>
          <dgm:bulletEnabled val="1"/>
        </dgm:presLayoutVars>
      </dgm:prSet>
      <dgm:spPr/>
    </dgm:pt>
  </dgm:ptLst>
  <dgm:cxnLst>
    <dgm:cxn modelId="{692FE91D-0CAA-4D38-BD3A-29DAF56D5D47}" type="presOf" srcId="{54C317CD-B72E-4E6F-BDE5-DD987C5D289F}" destId="{A12E704A-E9B4-4B37-AC49-1A95CE819528}" srcOrd="0" destOrd="0" presId="urn:microsoft.com/office/officeart/2005/8/layout/vList2"/>
    <dgm:cxn modelId="{DBBAAD2D-4876-4422-B819-89615DD8F702}" type="presOf" srcId="{420B5231-5D1E-4405-AB83-34D8FE072D93}" destId="{79702EEE-0AF9-457C-8076-CDED0ACBDFB2}" srcOrd="0" destOrd="0" presId="urn:microsoft.com/office/officeart/2005/8/layout/vList2"/>
    <dgm:cxn modelId="{A285663F-9D07-4501-8902-4ECF70084EB1}" srcId="{420B5231-5D1E-4405-AB83-34D8FE072D93}" destId="{D59FADCF-A8BB-4283-A43E-1923F50691AF}" srcOrd="1" destOrd="0" parTransId="{9080C33E-719B-46A6-9AF2-E1359DB53826}" sibTransId="{06F3DB50-431B-493F-AD55-649EDCC77C4B}"/>
    <dgm:cxn modelId="{9C43F441-E817-4F06-8C24-BE2CDCD5DB4B}" type="presOf" srcId="{D59FADCF-A8BB-4283-A43E-1923F50691AF}" destId="{4399F4B9-0DF9-4A9B-850D-536D0DBB116B}" srcOrd="0" destOrd="0" presId="urn:microsoft.com/office/officeart/2005/8/layout/vList2"/>
    <dgm:cxn modelId="{348C787C-F3AA-4F91-A76C-98A821C12ECA}" srcId="{420B5231-5D1E-4405-AB83-34D8FE072D93}" destId="{3214E814-8DD2-467A-8FBF-5DFF94E90FC9}" srcOrd="0" destOrd="0" parTransId="{1D5A525C-192F-4889-B804-45B1C4B1E231}" sibTransId="{FDBA8435-901F-4F22-9FF0-104637B81A4F}"/>
    <dgm:cxn modelId="{62B4818C-D262-4DF9-A911-4F62308A0D8A}" type="presOf" srcId="{3214E814-8DD2-467A-8FBF-5DFF94E90FC9}" destId="{91D29F98-31C1-41EB-88AB-4CE0746BD45A}" srcOrd="0" destOrd="0" presId="urn:microsoft.com/office/officeart/2005/8/layout/vList2"/>
    <dgm:cxn modelId="{EE50EE9B-E350-44AC-9067-16A9E4683394}" srcId="{420B5231-5D1E-4405-AB83-34D8FE072D93}" destId="{54C317CD-B72E-4E6F-BDE5-DD987C5D289F}" srcOrd="2" destOrd="0" parTransId="{3849FB15-AFA4-4D50-BF3C-0F8AAD5CCD1F}" sibTransId="{851128D3-79CE-4A1A-95EC-CFDE98FCAC4A}"/>
    <dgm:cxn modelId="{29B9936A-BD39-4ED2-BA00-A51913331D3B}" type="presParOf" srcId="{79702EEE-0AF9-457C-8076-CDED0ACBDFB2}" destId="{91D29F98-31C1-41EB-88AB-4CE0746BD45A}" srcOrd="0" destOrd="0" presId="urn:microsoft.com/office/officeart/2005/8/layout/vList2"/>
    <dgm:cxn modelId="{31289724-33A4-4E50-AA4A-37E7E23B6F5A}" type="presParOf" srcId="{79702EEE-0AF9-457C-8076-CDED0ACBDFB2}" destId="{AB692F6B-C411-4177-9EA4-F316BC877D67}" srcOrd="1" destOrd="0" presId="urn:microsoft.com/office/officeart/2005/8/layout/vList2"/>
    <dgm:cxn modelId="{D6EF0F22-1BAF-4243-ADD4-06D8F4FBFE7C}" type="presParOf" srcId="{79702EEE-0AF9-457C-8076-CDED0ACBDFB2}" destId="{4399F4B9-0DF9-4A9B-850D-536D0DBB116B}" srcOrd="2" destOrd="0" presId="urn:microsoft.com/office/officeart/2005/8/layout/vList2"/>
    <dgm:cxn modelId="{EA374F9C-BB01-48CD-861F-43E8BB80D49E}" type="presParOf" srcId="{79702EEE-0AF9-457C-8076-CDED0ACBDFB2}" destId="{9CF459B9-5528-4F38-99FD-30A0A1121872}" srcOrd="3" destOrd="0" presId="urn:microsoft.com/office/officeart/2005/8/layout/vList2"/>
    <dgm:cxn modelId="{0DCCA960-261E-417A-ADFB-046F01C7C05A}" type="presParOf" srcId="{79702EEE-0AF9-457C-8076-CDED0ACBDFB2}" destId="{A12E704A-E9B4-4B37-AC49-1A95CE819528}"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D29F98-31C1-41EB-88AB-4CE0746BD45A}">
      <dsp:nvSpPr>
        <dsp:cNvPr id="0" name=""/>
        <dsp:cNvSpPr/>
      </dsp:nvSpPr>
      <dsp:spPr>
        <a:xfrm>
          <a:off x="0" y="56464"/>
          <a:ext cx="11412877" cy="12846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tr-TR" sz="1800" b="1" i="1" u="sng" kern="1200" dirty="0"/>
            <a:t>Arızaların erken tespit edilmesinin önemi nedir?</a:t>
          </a:r>
          <a:br>
            <a:rPr lang="tr-TR" sz="1800" b="1" i="1" u="sng" kern="1200" dirty="0"/>
          </a:br>
          <a:br>
            <a:rPr lang="tr-TR" sz="1800" i="1" u="sng" kern="1200" dirty="0"/>
          </a:br>
          <a:r>
            <a:rPr lang="tr-TR" sz="1800" i="1" kern="1200" dirty="0"/>
            <a:t>Aynı tıp alanında olduğu gibi,  insan sağlığında erken teşhis ne kadar önemli ise, makina sağlığında da erken teşhis çok önemlidir.</a:t>
          </a:r>
          <a:endParaRPr lang="en-US" sz="1800" kern="1200" dirty="0"/>
        </a:p>
      </dsp:txBody>
      <dsp:txXfrm>
        <a:off x="62712" y="119176"/>
        <a:ext cx="11287453" cy="1159235"/>
      </dsp:txXfrm>
    </dsp:sp>
    <dsp:sp modelId="{4399F4B9-0DF9-4A9B-850D-536D0DBB116B}">
      <dsp:nvSpPr>
        <dsp:cNvPr id="0" name=""/>
        <dsp:cNvSpPr/>
      </dsp:nvSpPr>
      <dsp:spPr>
        <a:xfrm>
          <a:off x="0" y="1392964"/>
          <a:ext cx="11412877" cy="12846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tr-TR" sz="1800" i="1" kern="1200" dirty="0"/>
            <a:t>İnsan sağlığında erken teşhisle beraber gerekli tedavi ve önlemlerle hastalığın ilerlemesi, başka organlara sirayet ederek büyümesi ve yayılmasının önlenebiliyor olması önemli ise,</a:t>
          </a:r>
          <a:endParaRPr lang="en-US" sz="1800" kern="1200" dirty="0"/>
        </a:p>
      </dsp:txBody>
      <dsp:txXfrm>
        <a:off x="62712" y="1455676"/>
        <a:ext cx="11287453" cy="1159235"/>
      </dsp:txXfrm>
    </dsp:sp>
    <dsp:sp modelId="{A12E704A-E9B4-4B37-AC49-1A95CE819528}">
      <dsp:nvSpPr>
        <dsp:cNvPr id="0" name=""/>
        <dsp:cNvSpPr/>
      </dsp:nvSpPr>
      <dsp:spPr>
        <a:xfrm>
          <a:off x="0" y="2729464"/>
          <a:ext cx="11412877" cy="12846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tr-TR" sz="1800" i="1" kern="1200"/>
            <a:t>Makina sağlığında da arızanın başlangıç aşamasında tespit edilmesi ve arızanın daha kötü sonuçlara yol açmadan önlenebilmesi de çok önemlidir.</a:t>
          </a:r>
          <a:endParaRPr lang="en-US" sz="1800" kern="1200"/>
        </a:p>
      </dsp:txBody>
      <dsp:txXfrm>
        <a:off x="62712" y="2792176"/>
        <a:ext cx="11287453" cy="115923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2CB64F-B6DB-4004-9D5B-3B5B281306A6}" type="datetimeFigureOut">
              <a:rPr lang="tr-TR" smtClean="0"/>
              <a:t>4.05.2023</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F7D889-E0F5-4211-B726-44039CF494F9}" type="slidenum">
              <a:rPr lang="tr-TR" smtClean="0"/>
              <a:t>‹#›</a:t>
            </a:fld>
            <a:endParaRPr lang="tr-TR"/>
          </a:p>
        </p:txBody>
      </p:sp>
    </p:spTree>
    <p:extLst>
      <p:ext uri="{BB962C8B-B14F-4D97-AF65-F5344CB8AC3E}">
        <p14:creationId xmlns:p14="http://schemas.microsoft.com/office/powerpoint/2010/main" val="3706558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Datumsplatzhalter 3"/>
          <p:cNvSpPr>
            <a:spLocks noGrp="1"/>
          </p:cNvSpPr>
          <p:nvPr>
            <p:ph type="dt" idx="1"/>
          </p:nvPr>
        </p:nvSpPr>
        <p:spPr/>
        <p:txBody>
          <a:bodyPr/>
          <a:lstStyle/>
          <a:p>
            <a:fld id="{D0591500-3737-4DB0-BFD0-BE91FCF047E7}" type="datetime1">
              <a:rPr lang="en-US" smtClean="0"/>
              <a:t>5/4/2023</a:t>
            </a:fld>
            <a:endParaRPr lang="en-US" dirty="0"/>
          </a:p>
        </p:txBody>
      </p:sp>
      <p:sp>
        <p:nvSpPr>
          <p:cNvPr id="5" name="Fußzeilenplatzhalter 4"/>
          <p:cNvSpPr>
            <a:spLocks noGrp="1"/>
          </p:cNvSpPr>
          <p:nvPr>
            <p:ph type="ftr" sz="quarter" idx="4"/>
          </p:nvPr>
        </p:nvSpPr>
        <p:spPr/>
        <p:txBody>
          <a:bodyPr/>
          <a:lstStyle/>
          <a:p>
            <a:endParaRPr lang="en-US" dirty="0"/>
          </a:p>
        </p:txBody>
      </p:sp>
      <p:sp>
        <p:nvSpPr>
          <p:cNvPr id="6" name="Foliennummernplatzhalter 5"/>
          <p:cNvSpPr>
            <a:spLocks noGrp="1"/>
          </p:cNvSpPr>
          <p:nvPr>
            <p:ph type="sldNum" sz="quarter" idx="5"/>
          </p:nvPr>
        </p:nvSpPr>
        <p:spPr/>
        <p:txBody>
          <a:bodyPr/>
          <a:lstStyle/>
          <a:p>
            <a:fld id="{7050EDB2-57C8-4CAE-B8DE-69B518AB0745}" type="slidenum">
              <a:rPr lang="en-US" smtClean="0"/>
              <a:pPr/>
              <a:t>11</a:t>
            </a:fld>
            <a:endParaRPr lang="en-US" dirty="0"/>
          </a:p>
        </p:txBody>
      </p:sp>
    </p:spTree>
    <p:extLst>
      <p:ext uri="{BB962C8B-B14F-4D97-AF65-F5344CB8AC3E}">
        <p14:creationId xmlns:p14="http://schemas.microsoft.com/office/powerpoint/2010/main" val="4190241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0A8F1686-E781-4B0F-B852-A32F98818006}" type="slidenum">
              <a:rPr lang="tr-TR" smtClean="0"/>
              <a:t>16</a:t>
            </a:fld>
            <a:endParaRPr lang="tr-TR"/>
          </a:p>
        </p:txBody>
      </p:sp>
    </p:spTree>
    <p:extLst>
      <p:ext uri="{BB962C8B-B14F-4D97-AF65-F5344CB8AC3E}">
        <p14:creationId xmlns:p14="http://schemas.microsoft.com/office/powerpoint/2010/main" val="3626788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1: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9" name="Google Shape;79;p1: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607950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81998CC-E665-AB67-023E-FFD246FEB241}"/>
              </a:ext>
            </a:extLst>
          </p:cNvPr>
          <p:cNvSpPr>
            <a:spLocks noGrp="1"/>
          </p:cNvSpPr>
          <p:nvPr>
            <p:ph type="ctrTitle"/>
          </p:nvPr>
        </p:nvSpPr>
        <p:spPr>
          <a:xfrm>
            <a:off x="1524000" y="1122363"/>
            <a:ext cx="9144000" cy="2387600"/>
          </a:xfrm>
        </p:spPr>
        <p:txBody>
          <a:bodyPr anchor="b"/>
          <a:lstStyle>
            <a:lvl1pPr algn="ctr">
              <a:defRPr sz="6000"/>
            </a:lvl1pPr>
          </a:lstStyle>
          <a:p>
            <a:r>
              <a:rPr lang="tr-TR"/>
              <a:t>Asıl başlık stilini düzenlemek için tıklayın</a:t>
            </a:r>
          </a:p>
        </p:txBody>
      </p:sp>
      <p:sp>
        <p:nvSpPr>
          <p:cNvPr id="3" name="Alt Başlık 2">
            <a:extLst>
              <a:ext uri="{FF2B5EF4-FFF2-40B4-BE49-F238E27FC236}">
                <a16:creationId xmlns:a16="http://schemas.microsoft.com/office/drawing/2014/main" id="{A846D42C-4157-7B45-341D-5FC9B3300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a:t>Asıl alt başlık stilini düzenlemek için tıklayın</a:t>
            </a:r>
          </a:p>
        </p:txBody>
      </p:sp>
      <p:sp>
        <p:nvSpPr>
          <p:cNvPr id="4" name="Veri Yer Tutucusu 3">
            <a:extLst>
              <a:ext uri="{FF2B5EF4-FFF2-40B4-BE49-F238E27FC236}">
                <a16:creationId xmlns:a16="http://schemas.microsoft.com/office/drawing/2014/main" id="{8054ECB5-2A79-02E7-9B40-FFBD09E55D10}"/>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5" name="Alt Bilgi Yer Tutucusu 4">
            <a:extLst>
              <a:ext uri="{FF2B5EF4-FFF2-40B4-BE49-F238E27FC236}">
                <a16:creationId xmlns:a16="http://schemas.microsoft.com/office/drawing/2014/main" id="{64C8248D-ED92-2ED0-6AFB-4375148F5ABF}"/>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0E215240-CA25-D1C3-FA0B-A8DEB97BB569}"/>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1901965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C61F054-69B9-7143-70D9-147AA5C343AE}"/>
              </a:ext>
            </a:extLst>
          </p:cNvPr>
          <p:cNvSpPr>
            <a:spLocks noGrp="1"/>
          </p:cNvSpPr>
          <p:nvPr>
            <p:ph type="title"/>
          </p:nvPr>
        </p:nvSpPr>
        <p:spPr/>
        <p:txBody>
          <a:bodyPr/>
          <a:lstStyle/>
          <a:p>
            <a:r>
              <a:rPr lang="tr-TR"/>
              <a:t>Asıl başlık stilini düzenlemek için tıklayın</a:t>
            </a:r>
          </a:p>
        </p:txBody>
      </p:sp>
      <p:sp>
        <p:nvSpPr>
          <p:cNvPr id="3" name="Dikey Metin Yer Tutucusu 2">
            <a:extLst>
              <a:ext uri="{FF2B5EF4-FFF2-40B4-BE49-F238E27FC236}">
                <a16:creationId xmlns:a16="http://schemas.microsoft.com/office/drawing/2014/main" id="{982BB03A-382A-72D4-2886-11C1C4DE83FD}"/>
              </a:ext>
            </a:extLst>
          </p:cNvPr>
          <p:cNvSpPr>
            <a:spLocks noGrp="1"/>
          </p:cNvSpPr>
          <p:nvPr>
            <p:ph type="body" orient="vert" idx="1"/>
          </p:nvPr>
        </p:nvSpPr>
        <p:spPr/>
        <p:txBody>
          <a:bodyPr vert="eaVert"/>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0A3FD7A4-9EDF-8029-CB2E-7C030C7A3229}"/>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5" name="Alt Bilgi Yer Tutucusu 4">
            <a:extLst>
              <a:ext uri="{FF2B5EF4-FFF2-40B4-BE49-F238E27FC236}">
                <a16:creationId xmlns:a16="http://schemas.microsoft.com/office/drawing/2014/main" id="{C413F5FF-0F37-2B26-D26E-4CA414ABF8F5}"/>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CE27CAB3-982A-35AD-94B7-4DC715DE26DD}"/>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3016841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a:extLst>
              <a:ext uri="{FF2B5EF4-FFF2-40B4-BE49-F238E27FC236}">
                <a16:creationId xmlns:a16="http://schemas.microsoft.com/office/drawing/2014/main" id="{88A8758E-7606-3190-4ADE-A221F4B607EC}"/>
              </a:ext>
            </a:extLst>
          </p:cNvPr>
          <p:cNvSpPr>
            <a:spLocks noGrp="1"/>
          </p:cNvSpPr>
          <p:nvPr>
            <p:ph type="title" orient="vert"/>
          </p:nvPr>
        </p:nvSpPr>
        <p:spPr>
          <a:xfrm>
            <a:off x="8724900" y="365125"/>
            <a:ext cx="2628900" cy="5811838"/>
          </a:xfrm>
        </p:spPr>
        <p:txBody>
          <a:bodyPr vert="eaVert"/>
          <a:lstStyle/>
          <a:p>
            <a:r>
              <a:rPr lang="tr-TR"/>
              <a:t>Asıl başlık stilini düzenlemek için tıklayın</a:t>
            </a:r>
          </a:p>
        </p:txBody>
      </p:sp>
      <p:sp>
        <p:nvSpPr>
          <p:cNvPr id="3" name="Dikey Metin Yer Tutucusu 2">
            <a:extLst>
              <a:ext uri="{FF2B5EF4-FFF2-40B4-BE49-F238E27FC236}">
                <a16:creationId xmlns:a16="http://schemas.microsoft.com/office/drawing/2014/main" id="{13FAF83C-F799-DC6B-2487-CCDA86CCF2A8}"/>
              </a:ext>
            </a:extLst>
          </p:cNvPr>
          <p:cNvSpPr>
            <a:spLocks noGrp="1"/>
          </p:cNvSpPr>
          <p:nvPr>
            <p:ph type="body" orient="vert" idx="1"/>
          </p:nvPr>
        </p:nvSpPr>
        <p:spPr>
          <a:xfrm>
            <a:off x="838200" y="365125"/>
            <a:ext cx="7734300" cy="5811838"/>
          </a:xfrm>
        </p:spPr>
        <p:txBody>
          <a:bodyPr vert="eaVert"/>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7D53C27D-6333-F17A-1347-E59DAA5B7EF8}"/>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5" name="Alt Bilgi Yer Tutucusu 4">
            <a:extLst>
              <a:ext uri="{FF2B5EF4-FFF2-40B4-BE49-F238E27FC236}">
                <a16:creationId xmlns:a16="http://schemas.microsoft.com/office/drawing/2014/main" id="{4BD2515C-43A8-C4D4-3B78-10510B567233}"/>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DC8DB66F-A4BD-BF97-E5A4-1CF589650C3E}"/>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4182404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89560" y="1206500"/>
            <a:ext cx="5669280"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0"/>
          </p:nvPr>
        </p:nvSpPr>
        <p:spPr>
          <a:xfrm>
            <a:off x="6223000" y="1206500"/>
            <a:ext cx="5669280"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91351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 Grey Text Box | 2">
    <p:spTree>
      <p:nvGrpSpPr>
        <p:cNvPr id="1" name=""/>
        <p:cNvGrpSpPr/>
        <p:nvPr/>
      </p:nvGrpSpPr>
      <p:grpSpPr>
        <a:xfrm>
          <a:off x="0" y="0"/>
          <a:ext cx="0" cy="0"/>
          <a:chOff x="0" y="0"/>
          <a:chExt cx="0" cy="0"/>
        </a:xfrm>
      </p:grpSpPr>
      <p:sp>
        <p:nvSpPr>
          <p:cNvPr id="14" name="Chapter">
            <a:extLst>
              <a:ext uri="{FF2B5EF4-FFF2-40B4-BE49-F238E27FC236}">
                <a16:creationId xmlns:a16="http://schemas.microsoft.com/office/drawing/2014/main" id="{36472B10-CB63-4BBE-BC58-D79219AF5BFD}"/>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0" y="1340767"/>
            <a:ext cx="3143672"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noProof="0" dirty="0">
              <a:solidFill>
                <a:srgbClr val="000000"/>
              </a:solidFill>
              <a:latin typeface="Calibri" panose="020F0502020204030204" pitchFamily="34" charset="0"/>
            </a:endParaRPr>
          </a:p>
        </p:txBody>
      </p:sp>
      <p:sp>
        <p:nvSpPr>
          <p:cNvPr id="11" name="Content Placeholder Lef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479896" y="1628677"/>
            <a:ext cx="2376214"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Content Placeholder Right">
            <a:extLst>
              <a:ext uri="{FF2B5EF4-FFF2-40B4-BE49-F238E27FC236}">
                <a16:creationId xmlns:a16="http://schemas.microsoft.com/office/drawing/2014/main" id="{CA26B44B-9BF5-4CBF-87F9-C7A9787E0C9A}"/>
              </a:ext>
            </a:extLst>
          </p:cNvPr>
          <p:cNvSpPr>
            <a:spLocks noGrp="1"/>
          </p:cNvSpPr>
          <p:nvPr>
            <p:ph sz="quarter" idx="14" hasCustomPrompt="1"/>
          </p:nvPr>
        </p:nvSpPr>
        <p:spPr bwMode="gray">
          <a:xfrm>
            <a:off x="3432224" y="1628777"/>
            <a:ext cx="8280400" cy="439112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5"/>
          </p:nvPr>
        </p:nvSpPr>
        <p:spPr bwMode="gray"/>
        <p:txBody>
          <a:bodyPr/>
          <a:lstStyle/>
          <a:p>
            <a:r>
              <a:rPr lang="en-US"/>
              <a:t>09.08.2018</a:t>
            </a:r>
            <a:endParaRPr lang="en-US" dirty="0"/>
          </a:p>
        </p:txBody>
      </p:sp>
      <p:sp>
        <p:nvSpPr>
          <p:cNvPr id="6" name="Footer Placeholder"/>
          <p:cNvSpPr>
            <a:spLocks noGrp="1"/>
          </p:cNvSpPr>
          <p:nvPr>
            <p:ph type="ftr" sz="quarter" idx="16"/>
          </p:nvPr>
        </p:nvSpPr>
        <p:spPr bwMode="gray"/>
        <p:txBody>
          <a:bodyPr/>
          <a:lstStyle/>
          <a:p>
            <a:endParaRPr lang="en-US" dirty="0"/>
          </a:p>
        </p:txBody>
      </p:sp>
      <p:sp>
        <p:nvSpPr>
          <p:cNvPr id="8" name="Slide Number Placeholder"/>
          <p:cNvSpPr>
            <a:spLocks noGrp="1"/>
          </p:cNvSpPr>
          <p:nvPr>
            <p:ph type="sldNum" sz="quarter" idx="17"/>
          </p:nvPr>
        </p:nvSpPr>
        <p:spPr bwMode="gray"/>
        <p:txBody>
          <a:bodyPr/>
          <a:lstStyle/>
          <a:p>
            <a:fld id="{CCF10D83-73B2-4D20-BE53-AA27B2521160}" type="slidenum">
              <a:rPr lang="en-US" smtClean="0"/>
              <a:pPr/>
              <a:t>‹#›</a:t>
            </a:fld>
            <a:endParaRPr lang="en-US" dirty="0"/>
          </a:p>
        </p:txBody>
      </p:sp>
      <p:sp>
        <p:nvSpPr>
          <p:cNvPr id="15" name="Text Image Area" hidden="1">
            <a:extLst>
              <a:ext uri="{FF2B5EF4-FFF2-40B4-BE49-F238E27FC236}">
                <a16:creationId xmlns:a16="http://schemas.microsoft.com/office/drawing/2014/main" id="{0D09401C-9B51-4C51-BEED-F42B1741E9E7}"/>
              </a:ext>
            </a:extLst>
          </p:cNvPr>
          <p:cNvSpPr/>
          <p:nvPr userDrawn="1">
            <p:custDataLst>
              <p:tags r:id="rId3"/>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3" name="White Area Logo" hidden="1">
            <a:extLst>
              <a:ext uri="{FF2B5EF4-FFF2-40B4-BE49-F238E27FC236}">
                <a16:creationId xmlns:a16="http://schemas.microsoft.com/office/drawing/2014/main" id="{AB76935F-A92E-4CAD-81EE-B38E1F6849D2}"/>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23926120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E9BBD41F-C817-DCA4-01F5-766E4A668E4E}"/>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E87900AB-A8C9-76C8-AF90-501B60B40DA7}"/>
              </a:ext>
            </a:extLst>
          </p:cNvPr>
          <p:cNvSpPr>
            <a:spLocks noGrp="1"/>
          </p:cNvSpPr>
          <p:nvPr>
            <p:ph idx="1"/>
          </p:nvPr>
        </p:nvSpPr>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1D03547D-C52D-D630-D8B0-1BBDF54600E0}"/>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5" name="Alt Bilgi Yer Tutucusu 4">
            <a:extLst>
              <a:ext uri="{FF2B5EF4-FFF2-40B4-BE49-F238E27FC236}">
                <a16:creationId xmlns:a16="http://schemas.microsoft.com/office/drawing/2014/main" id="{73AA6913-C256-2934-8220-9B798F8EDC7A}"/>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41A826BE-6AEB-4737-2833-FF56278CDBFD}"/>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307325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 Bilgisi">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3455820-15D3-DA57-E021-25E3FB05E04D}"/>
              </a:ext>
            </a:extLst>
          </p:cNvPr>
          <p:cNvSpPr>
            <a:spLocks noGrp="1"/>
          </p:cNvSpPr>
          <p:nvPr>
            <p:ph type="title"/>
          </p:nvPr>
        </p:nvSpPr>
        <p:spPr>
          <a:xfrm>
            <a:off x="831850" y="1709738"/>
            <a:ext cx="10515600" cy="2852737"/>
          </a:xfrm>
        </p:spPr>
        <p:txBody>
          <a:bodyPr anchor="b"/>
          <a:lstStyle>
            <a:lvl1pPr>
              <a:defRPr sz="6000"/>
            </a:lvl1pPr>
          </a:lstStyle>
          <a:p>
            <a:r>
              <a:rPr lang="tr-TR"/>
              <a:t>Asıl başlık stilini düzenlemek için tıklayın</a:t>
            </a:r>
          </a:p>
        </p:txBody>
      </p:sp>
      <p:sp>
        <p:nvSpPr>
          <p:cNvPr id="3" name="Metin Yer Tutucusu 2">
            <a:extLst>
              <a:ext uri="{FF2B5EF4-FFF2-40B4-BE49-F238E27FC236}">
                <a16:creationId xmlns:a16="http://schemas.microsoft.com/office/drawing/2014/main" id="{52D6E764-7303-EAE9-F8B7-D20552EA61B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a:t>Asıl metin stillerini düzenlemek için tıklayın</a:t>
            </a:r>
          </a:p>
        </p:txBody>
      </p:sp>
      <p:sp>
        <p:nvSpPr>
          <p:cNvPr id="4" name="Veri Yer Tutucusu 3">
            <a:extLst>
              <a:ext uri="{FF2B5EF4-FFF2-40B4-BE49-F238E27FC236}">
                <a16:creationId xmlns:a16="http://schemas.microsoft.com/office/drawing/2014/main" id="{3A8A05C2-4E3B-689D-4C24-A48D501D1D87}"/>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5" name="Alt Bilgi Yer Tutucusu 4">
            <a:extLst>
              <a:ext uri="{FF2B5EF4-FFF2-40B4-BE49-F238E27FC236}">
                <a16:creationId xmlns:a16="http://schemas.microsoft.com/office/drawing/2014/main" id="{32050368-BCE7-9B3F-EAD9-15C23E3EA857}"/>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98168B0D-B0F7-9372-F645-E799B0CF113F}"/>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240817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28B83606-39CA-EBE9-22DC-A62A1700857C}"/>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6306D531-951C-404E-0963-6574A3C7BC0C}"/>
              </a:ext>
            </a:extLst>
          </p:cNvPr>
          <p:cNvSpPr>
            <a:spLocks noGrp="1"/>
          </p:cNvSpPr>
          <p:nvPr>
            <p:ph sz="half" idx="1"/>
          </p:nvPr>
        </p:nvSpPr>
        <p:spPr>
          <a:xfrm>
            <a:off x="838200" y="1825625"/>
            <a:ext cx="5181600" cy="435133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a:extLst>
              <a:ext uri="{FF2B5EF4-FFF2-40B4-BE49-F238E27FC236}">
                <a16:creationId xmlns:a16="http://schemas.microsoft.com/office/drawing/2014/main" id="{1FF9174F-E300-9412-F98E-2D6954A545CE}"/>
              </a:ext>
            </a:extLst>
          </p:cNvPr>
          <p:cNvSpPr>
            <a:spLocks noGrp="1"/>
          </p:cNvSpPr>
          <p:nvPr>
            <p:ph sz="half" idx="2"/>
          </p:nvPr>
        </p:nvSpPr>
        <p:spPr>
          <a:xfrm>
            <a:off x="6172200" y="1825625"/>
            <a:ext cx="5181600" cy="435133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5" name="Veri Yer Tutucusu 4">
            <a:extLst>
              <a:ext uri="{FF2B5EF4-FFF2-40B4-BE49-F238E27FC236}">
                <a16:creationId xmlns:a16="http://schemas.microsoft.com/office/drawing/2014/main" id="{3FD47AAB-E6AE-77A7-5761-956B17589BB3}"/>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6" name="Alt Bilgi Yer Tutucusu 5">
            <a:extLst>
              <a:ext uri="{FF2B5EF4-FFF2-40B4-BE49-F238E27FC236}">
                <a16:creationId xmlns:a16="http://schemas.microsoft.com/office/drawing/2014/main" id="{FE871526-0BC8-C7E4-D3E8-7CF448D61B57}"/>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92BC01FF-4507-5373-C37C-3D7E4A94DDAE}"/>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240293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D56F3F7-EE30-900F-13C6-9E3BE3EE88F7}"/>
              </a:ext>
            </a:extLst>
          </p:cNvPr>
          <p:cNvSpPr>
            <a:spLocks noGrp="1"/>
          </p:cNvSpPr>
          <p:nvPr>
            <p:ph type="title"/>
          </p:nvPr>
        </p:nvSpPr>
        <p:spPr>
          <a:xfrm>
            <a:off x="839788" y="365125"/>
            <a:ext cx="10515600" cy="1325563"/>
          </a:xfrm>
        </p:spPr>
        <p:txBody>
          <a:bodyPr/>
          <a:lstStyle/>
          <a:p>
            <a:r>
              <a:rPr lang="tr-TR"/>
              <a:t>Asıl başlık stilini düzenlemek için tıklayın</a:t>
            </a:r>
          </a:p>
        </p:txBody>
      </p:sp>
      <p:sp>
        <p:nvSpPr>
          <p:cNvPr id="3" name="Metin Yer Tutucusu 2">
            <a:extLst>
              <a:ext uri="{FF2B5EF4-FFF2-40B4-BE49-F238E27FC236}">
                <a16:creationId xmlns:a16="http://schemas.microsoft.com/office/drawing/2014/main" id="{DC763FF5-04AB-E1CC-8A2F-8D5414604E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yın</a:t>
            </a:r>
          </a:p>
        </p:txBody>
      </p:sp>
      <p:sp>
        <p:nvSpPr>
          <p:cNvPr id="4" name="İçerik Yer Tutucusu 3">
            <a:extLst>
              <a:ext uri="{FF2B5EF4-FFF2-40B4-BE49-F238E27FC236}">
                <a16:creationId xmlns:a16="http://schemas.microsoft.com/office/drawing/2014/main" id="{A862C585-B0FD-67B0-73BD-F6F998AD338C}"/>
              </a:ext>
            </a:extLst>
          </p:cNvPr>
          <p:cNvSpPr>
            <a:spLocks noGrp="1"/>
          </p:cNvSpPr>
          <p:nvPr>
            <p:ph sz="half" idx="2"/>
          </p:nvPr>
        </p:nvSpPr>
        <p:spPr>
          <a:xfrm>
            <a:off x="839788" y="2505075"/>
            <a:ext cx="5157787" cy="368458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5" name="Metin Yer Tutucusu 4">
            <a:extLst>
              <a:ext uri="{FF2B5EF4-FFF2-40B4-BE49-F238E27FC236}">
                <a16:creationId xmlns:a16="http://schemas.microsoft.com/office/drawing/2014/main" id="{836B5CEE-3E54-C639-C72F-E29C77C191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yın</a:t>
            </a:r>
          </a:p>
        </p:txBody>
      </p:sp>
      <p:sp>
        <p:nvSpPr>
          <p:cNvPr id="6" name="İçerik Yer Tutucusu 5">
            <a:extLst>
              <a:ext uri="{FF2B5EF4-FFF2-40B4-BE49-F238E27FC236}">
                <a16:creationId xmlns:a16="http://schemas.microsoft.com/office/drawing/2014/main" id="{B7AE62DD-FAAB-1C0A-D356-FF1C1443807B}"/>
              </a:ext>
            </a:extLst>
          </p:cNvPr>
          <p:cNvSpPr>
            <a:spLocks noGrp="1"/>
          </p:cNvSpPr>
          <p:nvPr>
            <p:ph sz="quarter" idx="4"/>
          </p:nvPr>
        </p:nvSpPr>
        <p:spPr>
          <a:xfrm>
            <a:off x="6172200" y="2505075"/>
            <a:ext cx="5183188" cy="368458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7" name="Veri Yer Tutucusu 6">
            <a:extLst>
              <a:ext uri="{FF2B5EF4-FFF2-40B4-BE49-F238E27FC236}">
                <a16:creationId xmlns:a16="http://schemas.microsoft.com/office/drawing/2014/main" id="{51F74765-4E00-FD6C-C6C4-5A04635618E0}"/>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8" name="Alt Bilgi Yer Tutucusu 7">
            <a:extLst>
              <a:ext uri="{FF2B5EF4-FFF2-40B4-BE49-F238E27FC236}">
                <a16:creationId xmlns:a16="http://schemas.microsoft.com/office/drawing/2014/main" id="{0B073B9A-3AD8-C2B3-3D4C-1E95B4FC1A98}"/>
              </a:ext>
            </a:extLst>
          </p:cNvPr>
          <p:cNvSpPr>
            <a:spLocks noGrp="1"/>
          </p:cNvSpPr>
          <p:nvPr>
            <p:ph type="ftr" sz="quarter" idx="11"/>
          </p:nvPr>
        </p:nvSpPr>
        <p:spPr/>
        <p:txBody>
          <a:bodyPr/>
          <a:lstStyle/>
          <a:p>
            <a:endParaRPr lang="tr-TR"/>
          </a:p>
        </p:txBody>
      </p:sp>
      <p:sp>
        <p:nvSpPr>
          <p:cNvPr id="9" name="Slayt Numarası Yer Tutucusu 8">
            <a:extLst>
              <a:ext uri="{FF2B5EF4-FFF2-40B4-BE49-F238E27FC236}">
                <a16:creationId xmlns:a16="http://schemas.microsoft.com/office/drawing/2014/main" id="{182B0F9F-5F4F-FE3C-0DAF-05B20E352FD9}"/>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40790462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2AF87030-8CCA-34DC-B38C-DF2116555292}"/>
              </a:ext>
            </a:extLst>
          </p:cNvPr>
          <p:cNvSpPr>
            <a:spLocks noGrp="1"/>
          </p:cNvSpPr>
          <p:nvPr>
            <p:ph type="title"/>
          </p:nvPr>
        </p:nvSpPr>
        <p:spPr/>
        <p:txBody>
          <a:bodyPr/>
          <a:lstStyle/>
          <a:p>
            <a:r>
              <a:rPr lang="tr-TR"/>
              <a:t>Asıl başlık stilini düzenlemek için tıklayın</a:t>
            </a:r>
          </a:p>
        </p:txBody>
      </p:sp>
      <p:sp>
        <p:nvSpPr>
          <p:cNvPr id="3" name="Veri Yer Tutucusu 2">
            <a:extLst>
              <a:ext uri="{FF2B5EF4-FFF2-40B4-BE49-F238E27FC236}">
                <a16:creationId xmlns:a16="http://schemas.microsoft.com/office/drawing/2014/main" id="{AFAC5E31-C940-B3AD-BBCD-003264330C74}"/>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4" name="Alt Bilgi Yer Tutucusu 3">
            <a:extLst>
              <a:ext uri="{FF2B5EF4-FFF2-40B4-BE49-F238E27FC236}">
                <a16:creationId xmlns:a16="http://schemas.microsoft.com/office/drawing/2014/main" id="{8476A188-B15E-E0BC-9D19-5C0FFCFCC76C}"/>
              </a:ext>
            </a:extLst>
          </p:cNvPr>
          <p:cNvSpPr>
            <a:spLocks noGrp="1"/>
          </p:cNvSpPr>
          <p:nvPr>
            <p:ph type="ftr" sz="quarter" idx="11"/>
          </p:nvPr>
        </p:nvSpPr>
        <p:spPr/>
        <p:txBody>
          <a:bodyPr/>
          <a:lstStyle/>
          <a:p>
            <a:endParaRPr lang="tr-TR"/>
          </a:p>
        </p:txBody>
      </p:sp>
      <p:sp>
        <p:nvSpPr>
          <p:cNvPr id="5" name="Slayt Numarası Yer Tutucusu 4">
            <a:extLst>
              <a:ext uri="{FF2B5EF4-FFF2-40B4-BE49-F238E27FC236}">
                <a16:creationId xmlns:a16="http://schemas.microsoft.com/office/drawing/2014/main" id="{6261A655-353B-9006-86D1-1F9C7C26F8D2}"/>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561158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a:extLst>
              <a:ext uri="{FF2B5EF4-FFF2-40B4-BE49-F238E27FC236}">
                <a16:creationId xmlns:a16="http://schemas.microsoft.com/office/drawing/2014/main" id="{598F1E5B-608B-F005-AB18-9BD274B6BE6B}"/>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3" name="Alt Bilgi Yer Tutucusu 2">
            <a:extLst>
              <a:ext uri="{FF2B5EF4-FFF2-40B4-BE49-F238E27FC236}">
                <a16:creationId xmlns:a16="http://schemas.microsoft.com/office/drawing/2014/main" id="{04B20575-DB6E-4BC9-8EF7-2FDCFD6B6806}"/>
              </a:ext>
            </a:extLst>
          </p:cNvPr>
          <p:cNvSpPr>
            <a:spLocks noGrp="1"/>
          </p:cNvSpPr>
          <p:nvPr>
            <p:ph type="ftr" sz="quarter" idx="11"/>
          </p:nvPr>
        </p:nvSpPr>
        <p:spPr/>
        <p:txBody>
          <a:bodyPr/>
          <a:lstStyle/>
          <a:p>
            <a:endParaRPr lang="tr-TR"/>
          </a:p>
        </p:txBody>
      </p:sp>
      <p:sp>
        <p:nvSpPr>
          <p:cNvPr id="4" name="Slayt Numarası Yer Tutucusu 3">
            <a:extLst>
              <a:ext uri="{FF2B5EF4-FFF2-40B4-BE49-F238E27FC236}">
                <a16:creationId xmlns:a16="http://schemas.microsoft.com/office/drawing/2014/main" id="{17CA043C-A2A3-B3BF-356B-11AD6E5ED75E}"/>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3468768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CE32BE8A-02A9-1965-BC3B-CAAD78652F50}"/>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İçerik Yer Tutucusu 2">
            <a:extLst>
              <a:ext uri="{FF2B5EF4-FFF2-40B4-BE49-F238E27FC236}">
                <a16:creationId xmlns:a16="http://schemas.microsoft.com/office/drawing/2014/main" id="{0DBEC3B9-8845-9A1E-0C79-8F5B166844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Metin Yer Tutucusu 3">
            <a:extLst>
              <a:ext uri="{FF2B5EF4-FFF2-40B4-BE49-F238E27FC236}">
                <a16:creationId xmlns:a16="http://schemas.microsoft.com/office/drawing/2014/main" id="{FF987CB6-22A8-BA09-3F0D-1FEA92DD33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mek için tıklayın</a:t>
            </a:r>
          </a:p>
        </p:txBody>
      </p:sp>
      <p:sp>
        <p:nvSpPr>
          <p:cNvPr id="5" name="Veri Yer Tutucusu 4">
            <a:extLst>
              <a:ext uri="{FF2B5EF4-FFF2-40B4-BE49-F238E27FC236}">
                <a16:creationId xmlns:a16="http://schemas.microsoft.com/office/drawing/2014/main" id="{96DD631C-BD3F-8792-4632-09BCD76A5533}"/>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6" name="Alt Bilgi Yer Tutucusu 5">
            <a:extLst>
              <a:ext uri="{FF2B5EF4-FFF2-40B4-BE49-F238E27FC236}">
                <a16:creationId xmlns:a16="http://schemas.microsoft.com/office/drawing/2014/main" id="{A93597A7-6961-8A25-4FB5-E253DDCA24E3}"/>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41E64887-E885-D685-6839-042D54B5A896}"/>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1523927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90BAB98-4564-DB53-09B2-251F5D9FD348}"/>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Resim Yer Tutucusu 2">
            <a:extLst>
              <a:ext uri="{FF2B5EF4-FFF2-40B4-BE49-F238E27FC236}">
                <a16:creationId xmlns:a16="http://schemas.microsoft.com/office/drawing/2014/main" id="{D4388DCE-543A-8403-DB43-B5AF484019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a:extLst>
              <a:ext uri="{FF2B5EF4-FFF2-40B4-BE49-F238E27FC236}">
                <a16:creationId xmlns:a16="http://schemas.microsoft.com/office/drawing/2014/main" id="{128499F8-9735-4C66-5CEF-DF82A7FF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mek için tıklayın</a:t>
            </a:r>
          </a:p>
        </p:txBody>
      </p:sp>
      <p:sp>
        <p:nvSpPr>
          <p:cNvPr id="5" name="Veri Yer Tutucusu 4">
            <a:extLst>
              <a:ext uri="{FF2B5EF4-FFF2-40B4-BE49-F238E27FC236}">
                <a16:creationId xmlns:a16="http://schemas.microsoft.com/office/drawing/2014/main" id="{A646E51E-5C64-3803-AF23-6E4CC93C571C}"/>
              </a:ext>
            </a:extLst>
          </p:cNvPr>
          <p:cNvSpPr>
            <a:spLocks noGrp="1"/>
          </p:cNvSpPr>
          <p:nvPr>
            <p:ph type="dt" sz="half" idx="10"/>
          </p:nvPr>
        </p:nvSpPr>
        <p:spPr/>
        <p:txBody>
          <a:bodyPr/>
          <a:lstStyle/>
          <a:p>
            <a:fld id="{E58A111E-7F94-564B-B452-BFD77ED74D7E}" type="datetimeFigureOut">
              <a:rPr lang="tr-TR" smtClean="0"/>
              <a:t>4.05.2023</a:t>
            </a:fld>
            <a:endParaRPr lang="tr-TR"/>
          </a:p>
        </p:txBody>
      </p:sp>
      <p:sp>
        <p:nvSpPr>
          <p:cNvPr id="6" name="Alt Bilgi Yer Tutucusu 5">
            <a:extLst>
              <a:ext uri="{FF2B5EF4-FFF2-40B4-BE49-F238E27FC236}">
                <a16:creationId xmlns:a16="http://schemas.microsoft.com/office/drawing/2014/main" id="{E220B98F-EC05-E9E2-4371-448C6A4B0A36}"/>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05199559-197F-8953-E51B-58186F5AD8E9}"/>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4090337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a:extLst>
              <a:ext uri="{FF2B5EF4-FFF2-40B4-BE49-F238E27FC236}">
                <a16:creationId xmlns:a16="http://schemas.microsoft.com/office/drawing/2014/main" id="{5A3D6F0F-3657-BFE6-CE42-5A924AEA00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a:t>Asıl başlık stilini düzenlemek için tıklayın</a:t>
            </a:r>
          </a:p>
        </p:txBody>
      </p:sp>
      <p:sp>
        <p:nvSpPr>
          <p:cNvPr id="3" name="Metin Yer Tutucusu 2">
            <a:extLst>
              <a:ext uri="{FF2B5EF4-FFF2-40B4-BE49-F238E27FC236}">
                <a16:creationId xmlns:a16="http://schemas.microsoft.com/office/drawing/2014/main" id="{1CBE6A6F-3540-FFA4-606D-F8A27AE821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8ACA9FDC-9E4D-DC70-7EB5-A4357EF54A4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8A111E-7F94-564B-B452-BFD77ED74D7E}" type="datetimeFigureOut">
              <a:rPr lang="tr-TR" smtClean="0"/>
              <a:t>4.05.2023</a:t>
            </a:fld>
            <a:endParaRPr lang="tr-TR"/>
          </a:p>
        </p:txBody>
      </p:sp>
      <p:sp>
        <p:nvSpPr>
          <p:cNvPr id="5" name="Alt Bilgi Yer Tutucusu 4">
            <a:extLst>
              <a:ext uri="{FF2B5EF4-FFF2-40B4-BE49-F238E27FC236}">
                <a16:creationId xmlns:a16="http://schemas.microsoft.com/office/drawing/2014/main" id="{9CE55DE6-4002-4B5F-94D7-A6C04787CE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a:extLst>
              <a:ext uri="{FF2B5EF4-FFF2-40B4-BE49-F238E27FC236}">
                <a16:creationId xmlns:a16="http://schemas.microsoft.com/office/drawing/2014/main" id="{EBE0F469-CC8A-2E0E-7A30-450DF0C921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C06310-585F-9843-8756-30C415E5145C}" type="slidenum">
              <a:rPr lang="tr-TR" smtClean="0"/>
              <a:t>‹#›</a:t>
            </a:fld>
            <a:endParaRPr lang="tr-TR"/>
          </a:p>
        </p:txBody>
      </p:sp>
    </p:spTree>
    <p:extLst>
      <p:ext uri="{BB962C8B-B14F-4D97-AF65-F5344CB8AC3E}">
        <p14:creationId xmlns:p14="http://schemas.microsoft.com/office/powerpoint/2010/main" val="30939990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2.xml"/><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g"/><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6.jpg"/><Relationship Id="rId4" Type="http://schemas.openxmlformats.org/officeDocument/2006/relationships/image" Target="../media/image43.jpg"/></Relationships>
</file>

<file path=ppt/slides/_rels/slide15.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6.jpg"/><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46.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45.emf"/><Relationship Id="rId17" Type="http://schemas.openxmlformats.org/officeDocument/2006/relationships/image" Target="../media/image50.jpeg"/><Relationship Id="rId2" Type="http://schemas.openxmlformats.org/officeDocument/2006/relationships/tags" Target="../tags/tag6.xml"/><Relationship Id="rId16" Type="http://schemas.openxmlformats.org/officeDocument/2006/relationships/image" Target="../media/image49.jpe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notesSlide" Target="../notesSlides/notesSlide2.xml"/><Relationship Id="rId5" Type="http://schemas.openxmlformats.org/officeDocument/2006/relationships/tags" Target="../tags/tag9.xml"/><Relationship Id="rId15" Type="http://schemas.openxmlformats.org/officeDocument/2006/relationships/image" Target="../media/image48.jpeg"/><Relationship Id="rId10" Type="http://schemas.openxmlformats.org/officeDocument/2006/relationships/slideLayout" Target="../slideLayouts/slideLayout2.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7.jpeg"/></Relationships>
</file>

<file path=ppt/slides/_rels/slide17.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png"/><Relationship Id="rId2" Type="http://schemas.openxmlformats.org/officeDocument/2006/relationships/image" Target="../media/image51.jpeg"/><Relationship Id="rId1" Type="http://schemas.openxmlformats.org/officeDocument/2006/relationships/slideLayout" Target="../slideLayouts/slideLayout12.xml"/><Relationship Id="rId6" Type="http://schemas.openxmlformats.org/officeDocument/2006/relationships/image" Target="../media/image6.jpg"/><Relationship Id="rId5" Type="http://schemas.openxmlformats.org/officeDocument/2006/relationships/image" Target="../media/image54.jpeg"/><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12.xml"/><Relationship Id="rId5" Type="http://schemas.openxmlformats.org/officeDocument/2006/relationships/image" Target="../media/image58.png"/><Relationship Id="rId4" Type="http://schemas.openxmlformats.org/officeDocument/2006/relationships/image" Target="../media/image57.jpeg"/></Relationships>
</file>

<file path=ppt/slides/_rels/slide1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12.xml"/><Relationship Id="rId5" Type="http://schemas.openxmlformats.org/officeDocument/2006/relationships/image" Target="../media/image62.jpeg"/><Relationship Id="rId4" Type="http://schemas.openxmlformats.org/officeDocument/2006/relationships/image" Target="../media/image61.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12.xml"/><Relationship Id="rId5" Type="http://schemas.openxmlformats.org/officeDocument/2006/relationships/image" Target="../media/image66.jpeg"/><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12.xml"/><Relationship Id="rId6" Type="http://schemas.openxmlformats.org/officeDocument/2006/relationships/image" Target="../media/image6.jpg"/><Relationship Id="rId5" Type="http://schemas.openxmlformats.org/officeDocument/2006/relationships/image" Target="../media/image70.PNG"/><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73.PNG"/><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png"/><Relationship Id="rId1" Type="http://schemas.openxmlformats.org/officeDocument/2006/relationships/slideLayout" Target="../slideLayouts/slideLayout12.xml"/><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9.jpe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png"/><Relationship Id="rId7" Type="http://schemas.openxmlformats.org/officeDocument/2006/relationships/diagramColors" Target="../diagrams/colors1.xml"/><Relationship Id="rId2" Type="http://schemas.openxmlformats.org/officeDocument/2006/relationships/image" Target="../media/image8.jpeg"/><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Layout" Target="../slideLayouts/slideLayout12.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2.xml"/><Relationship Id="rId5" Type="http://schemas.openxmlformats.org/officeDocument/2006/relationships/image" Target="../media/image17.pn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xml"/><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Resim 6" descr="metin, kişi içeren bir resim&#10;&#10;Açıklama otomatik olarak oluşturuldu">
            <a:extLst>
              <a:ext uri="{FF2B5EF4-FFF2-40B4-BE49-F238E27FC236}">
                <a16:creationId xmlns:a16="http://schemas.microsoft.com/office/drawing/2014/main" id="{38A409DF-CF70-1619-79CB-419325278A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Resim 7">
            <a:extLst>
              <a:ext uri="{FF2B5EF4-FFF2-40B4-BE49-F238E27FC236}">
                <a16:creationId xmlns:a16="http://schemas.microsoft.com/office/drawing/2014/main" id="{9F078626-2D3F-A7BF-7E25-2571D95A4F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82533" y="208864"/>
            <a:ext cx="1354095" cy="479973"/>
          </a:xfrm>
          <a:prstGeom prst="rect">
            <a:avLst/>
          </a:prstGeom>
        </p:spPr>
      </p:pic>
    </p:spTree>
    <p:extLst>
      <p:ext uri="{BB962C8B-B14F-4D97-AF65-F5344CB8AC3E}">
        <p14:creationId xmlns:p14="http://schemas.microsoft.com/office/powerpoint/2010/main" val="3626159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A26C624C-963C-4795-B05B-6565DB5AB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Resim 4">
            <a:extLst>
              <a:ext uri="{FF2B5EF4-FFF2-40B4-BE49-F238E27FC236}">
                <a16:creationId xmlns:a16="http://schemas.microsoft.com/office/drawing/2014/main" id="{42FA7279-4D4E-CA7F-9BED-16A72E37167F}"/>
              </a:ext>
            </a:extLst>
          </p:cNvPr>
          <p:cNvPicPr>
            <a:picLocks noChangeAspect="1"/>
          </p:cNvPicPr>
          <p:nvPr/>
        </p:nvPicPr>
        <p:blipFill rotWithShape="1">
          <a:blip r:embed="rId2"/>
          <a:srcRect l="26057" r="27302" b="-2"/>
          <a:stretch/>
        </p:blipFill>
        <p:spPr>
          <a:xfrm>
            <a:off x="20" y="10"/>
            <a:ext cx="3728839" cy="4197358"/>
          </a:xfrm>
          <a:prstGeom prst="rect">
            <a:avLst/>
          </a:prstGeom>
        </p:spPr>
      </p:pic>
      <p:pic>
        <p:nvPicPr>
          <p:cNvPr id="9" name="Resim 8">
            <a:extLst>
              <a:ext uri="{FF2B5EF4-FFF2-40B4-BE49-F238E27FC236}">
                <a16:creationId xmlns:a16="http://schemas.microsoft.com/office/drawing/2014/main" id="{B5B749DF-5900-DF13-AA3A-0542580B9DEE}"/>
              </a:ext>
            </a:extLst>
          </p:cNvPr>
          <p:cNvPicPr>
            <a:picLocks noChangeAspect="1"/>
          </p:cNvPicPr>
          <p:nvPr/>
        </p:nvPicPr>
        <p:blipFill rotWithShape="1">
          <a:blip r:embed="rId3"/>
          <a:srcRect l="20696" r="-1" b="-1"/>
          <a:stretch/>
        </p:blipFill>
        <p:spPr>
          <a:xfrm>
            <a:off x="7653541" y="1"/>
            <a:ext cx="4538463" cy="3877247"/>
          </a:xfrm>
          <a:custGeom>
            <a:avLst/>
            <a:gdLst/>
            <a:ahLst/>
            <a:cxnLst/>
            <a:rect l="l" t="t" r="r" b="b"/>
            <a:pathLst>
              <a:path w="4538463" h="3877247">
                <a:moveTo>
                  <a:pt x="0" y="0"/>
                </a:moveTo>
                <a:lnTo>
                  <a:pt x="4538463" y="0"/>
                </a:lnTo>
                <a:lnTo>
                  <a:pt x="4538463" y="3437173"/>
                </a:lnTo>
                <a:lnTo>
                  <a:pt x="4530710" y="3429000"/>
                </a:lnTo>
                <a:cubicBezTo>
                  <a:pt x="4370289" y="3495842"/>
                  <a:pt x="4239946" y="3686344"/>
                  <a:pt x="4056129" y="3636211"/>
                </a:cubicBezTo>
                <a:cubicBezTo>
                  <a:pt x="3872313" y="3589422"/>
                  <a:pt x="3788760" y="3830055"/>
                  <a:pt x="3618310" y="3756528"/>
                </a:cubicBezTo>
                <a:cubicBezTo>
                  <a:pt x="3394389" y="3823371"/>
                  <a:pt x="3163783" y="3823371"/>
                  <a:pt x="2933176" y="3810002"/>
                </a:cubicBezTo>
                <a:cubicBezTo>
                  <a:pt x="2702570" y="3840081"/>
                  <a:pt x="2471962" y="3873503"/>
                  <a:pt x="2238015" y="3850107"/>
                </a:cubicBezTo>
                <a:cubicBezTo>
                  <a:pt x="2007408" y="3870161"/>
                  <a:pt x="1783486" y="3883529"/>
                  <a:pt x="1552880" y="3863476"/>
                </a:cubicBezTo>
                <a:cubicBezTo>
                  <a:pt x="1322274" y="3886870"/>
                  <a:pt x="1091667" y="3876844"/>
                  <a:pt x="864402" y="3860134"/>
                </a:cubicBezTo>
                <a:cubicBezTo>
                  <a:pt x="757455" y="3860134"/>
                  <a:pt x="653849" y="3856792"/>
                  <a:pt x="546902" y="3856792"/>
                </a:cubicBezTo>
                <a:cubicBezTo>
                  <a:pt x="404861" y="3850108"/>
                  <a:pt x="262821" y="3845095"/>
                  <a:pt x="120363" y="3840499"/>
                </a:cubicBezTo>
                <a:lnTo>
                  <a:pt x="0" y="3836632"/>
                </a:lnTo>
                <a:close/>
              </a:path>
            </a:pathLst>
          </a:custGeom>
        </p:spPr>
      </p:pic>
      <p:pic>
        <p:nvPicPr>
          <p:cNvPr id="6" name="Resim 5">
            <a:extLst>
              <a:ext uri="{FF2B5EF4-FFF2-40B4-BE49-F238E27FC236}">
                <a16:creationId xmlns:a16="http://schemas.microsoft.com/office/drawing/2014/main" id="{CCCA3DD8-8EAD-083E-E651-C4D74858CE57}"/>
              </a:ext>
            </a:extLst>
          </p:cNvPr>
          <p:cNvPicPr>
            <a:picLocks noChangeAspect="1"/>
          </p:cNvPicPr>
          <p:nvPr/>
        </p:nvPicPr>
        <p:blipFill rotWithShape="1">
          <a:blip r:embed="rId4"/>
          <a:srcRect t="20651" b="23035"/>
          <a:stretch/>
        </p:blipFill>
        <p:spPr>
          <a:xfrm>
            <a:off x="20" y="4297691"/>
            <a:ext cx="6836830" cy="2560309"/>
          </a:xfrm>
          <a:custGeom>
            <a:avLst/>
            <a:gdLst/>
            <a:ahLst/>
            <a:cxnLst/>
            <a:rect l="l" t="t" r="r" b="b"/>
            <a:pathLst>
              <a:path w="6836850" h="2541737">
                <a:moveTo>
                  <a:pt x="0" y="0"/>
                </a:moveTo>
                <a:lnTo>
                  <a:pt x="4460098" y="0"/>
                </a:lnTo>
                <a:lnTo>
                  <a:pt x="4483996" y="31836"/>
                </a:lnTo>
                <a:cubicBezTo>
                  <a:pt x="4644419" y="28495"/>
                  <a:pt x="4627708" y="282495"/>
                  <a:pt x="4788129" y="245732"/>
                </a:cubicBezTo>
                <a:cubicBezTo>
                  <a:pt x="4754709" y="362707"/>
                  <a:pt x="4641076" y="302548"/>
                  <a:pt x="4600971" y="389443"/>
                </a:cubicBezTo>
                <a:cubicBezTo>
                  <a:pt x="4684524" y="462970"/>
                  <a:pt x="4844945" y="409497"/>
                  <a:pt x="4871683" y="563233"/>
                </a:cubicBezTo>
                <a:cubicBezTo>
                  <a:pt x="4838262" y="723655"/>
                  <a:pt x="4945210" y="703602"/>
                  <a:pt x="5032105" y="713629"/>
                </a:cubicBezTo>
                <a:cubicBezTo>
                  <a:pt x="5239317" y="733683"/>
                  <a:pt x="5439843" y="747050"/>
                  <a:pt x="5643713" y="780472"/>
                </a:cubicBezTo>
                <a:cubicBezTo>
                  <a:pt x="5693844" y="790498"/>
                  <a:pt x="5810819" y="767103"/>
                  <a:pt x="5800794" y="870709"/>
                </a:cubicBezTo>
                <a:cubicBezTo>
                  <a:pt x="5790767" y="954261"/>
                  <a:pt x="5700529" y="924184"/>
                  <a:pt x="5643713" y="927525"/>
                </a:cubicBezTo>
                <a:cubicBezTo>
                  <a:pt x="5329553" y="967632"/>
                  <a:pt x="5012052" y="904131"/>
                  <a:pt x="4701235" y="907472"/>
                </a:cubicBezTo>
                <a:cubicBezTo>
                  <a:pt x="4664472" y="907472"/>
                  <a:pt x="4657787" y="1017762"/>
                  <a:pt x="4577576" y="980999"/>
                </a:cubicBezTo>
                <a:cubicBezTo>
                  <a:pt x="4788129" y="1081263"/>
                  <a:pt x="5767372" y="1108001"/>
                  <a:pt x="6094900" y="1161474"/>
                </a:cubicBezTo>
                <a:cubicBezTo>
                  <a:pt x="5754004" y="1542477"/>
                  <a:pt x="5429817" y="1311870"/>
                  <a:pt x="5159105" y="1525765"/>
                </a:cubicBezTo>
                <a:cubicBezTo>
                  <a:pt x="5159105" y="1525765"/>
                  <a:pt x="5212580" y="1525765"/>
                  <a:pt x="5443187" y="1595950"/>
                </a:cubicBezTo>
                <a:cubicBezTo>
                  <a:pt x="5627002" y="1652765"/>
                  <a:pt x="5536765" y="1732976"/>
                  <a:pt x="6001321" y="1886715"/>
                </a:cubicBezTo>
                <a:cubicBezTo>
                  <a:pt x="5824188" y="1936846"/>
                  <a:pt x="5593581" y="1839925"/>
                  <a:pt x="5506685" y="2100610"/>
                </a:cubicBezTo>
                <a:cubicBezTo>
                  <a:pt x="5643713" y="2147401"/>
                  <a:pt x="5807477" y="2103953"/>
                  <a:pt x="5904398" y="2227611"/>
                </a:cubicBezTo>
                <a:cubicBezTo>
                  <a:pt x="5934478" y="2264375"/>
                  <a:pt x="5964557" y="2287770"/>
                  <a:pt x="6001321" y="2307821"/>
                </a:cubicBezTo>
                <a:cubicBezTo>
                  <a:pt x="5984612" y="2314507"/>
                  <a:pt x="5964557" y="2321190"/>
                  <a:pt x="5951188" y="2327874"/>
                </a:cubicBezTo>
                <a:cubicBezTo>
                  <a:pt x="5977925" y="2351271"/>
                  <a:pt x="6663060" y="2478270"/>
                  <a:pt x="6836850" y="2481613"/>
                </a:cubicBezTo>
                <a:cubicBezTo>
                  <a:pt x="6761652" y="2506679"/>
                  <a:pt x="6636845" y="2527828"/>
                  <a:pt x="6553814" y="2540165"/>
                </a:cubicBezTo>
                <a:lnTo>
                  <a:pt x="6542822" y="2541737"/>
                </a:lnTo>
                <a:lnTo>
                  <a:pt x="0" y="2541737"/>
                </a:lnTo>
                <a:close/>
              </a:path>
            </a:pathLst>
          </a:custGeom>
        </p:spPr>
      </p:pic>
      <p:sp>
        <p:nvSpPr>
          <p:cNvPr id="4" name="Metin kutusu 3">
            <a:extLst>
              <a:ext uri="{FF2B5EF4-FFF2-40B4-BE49-F238E27FC236}">
                <a16:creationId xmlns:a16="http://schemas.microsoft.com/office/drawing/2014/main" id="{919FA580-A169-48E1-E874-A0FECD32C8FF}"/>
              </a:ext>
            </a:extLst>
          </p:cNvPr>
          <p:cNvSpPr txBox="1"/>
          <p:nvPr/>
        </p:nvSpPr>
        <p:spPr>
          <a:xfrm>
            <a:off x="6343650" y="4181474"/>
            <a:ext cx="5505814" cy="1471335"/>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4400" b="1" kern="1200">
                <a:solidFill>
                  <a:schemeClr val="tx1"/>
                </a:solidFill>
                <a:latin typeface="+mj-lt"/>
                <a:ea typeface="+mj-ea"/>
                <a:cs typeface="+mj-cs"/>
              </a:rPr>
              <a:t>Endoscope ve Borescope Kontrolleri</a:t>
            </a:r>
          </a:p>
        </p:txBody>
      </p:sp>
      <p:pic>
        <p:nvPicPr>
          <p:cNvPr id="2" name="Resim 1">
            <a:extLst>
              <a:ext uri="{FF2B5EF4-FFF2-40B4-BE49-F238E27FC236}">
                <a16:creationId xmlns:a16="http://schemas.microsoft.com/office/drawing/2014/main" id="{FC8A2E54-5B86-8684-0ED1-D0C8CC443F22}"/>
              </a:ext>
            </a:extLst>
          </p:cNvPr>
          <p:cNvPicPr>
            <a:picLocks noChangeAspect="1"/>
          </p:cNvPicPr>
          <p:nvPr/>
        </p:nvPicPr>
        <p:blipFill>
          <a:blip r:embed="rId5"/>
          <a:stretch>
            <a:fillRect/>
          </a:stretch>
        </p:blipFill>
        <p:spPr>
          <a:xfrm>
            <a:off x="3793349" y="385850"/>
            <a:ext cx="3795702" cy="2982918"/>
          </a:xfrm>
          <a:prstGeom prst="rect">
            <a:avLst/>
          </a:prstGeom>
        </p:spPr>
      </p:pic>
    </p:spTree>
    <p:extLst>
      <p:ext uri="{BB962C8B-B14F-4D97-AF65-F5344CB8AC3E}">
        <p14:creationId xmlns:p14="http://schemas.microsoft.com/office/powerpoint/2010/main" val="18503433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a:extLst>
              <a:ext uri="{FF2B5EF4-FFF2-40B4-BE49-F238E27FC236}">
                <a16:creationId xmlns:a16="http://schemas.microsoft.com/office/drawing/2014/main" id="{F5A055E1-E0B0-4F25-8B8F-8B6D13B0855F}"/>
              </a:ext>
            </a:extLst>
          </p:cNvPr>
          <p:cNvSpPr>
            <a:spLocks noGrp="1"/>
          </p:cNvSpPr>
          <p:nvPr>
            <p:ph type="title"/>
          </p:nvPr>
        </p:nvSpPr>
        <p:spPr>
          <a:xfrm>
            <a:off x="100158" y="388823"/>
            <a:ext cx="12000146" cy="369332"/>
          </a:xfrm>
          <a:solidFill>
            <a:srgbClr val="C00000"/>
          </a:solidFill>
          <a:ln>
            <a:solidFill>
              <a:srgbClr val="C00000"/>
            </a:solidFill>
          </a:ln>
        </p:spPr>
        <p:txBody>
          <a:bodyPr>
            <a:noAutofit/>
          </a:bodyPr>
          <a:lstStyle/>
          <a:p>
            <a:pPr algn="ctr"/>
            <a:r>
              <a:rPr lang="en-US" sz="3200" b="1" dirty="0" err="1">
                <a:solidFill>
                  <a:schemeClr val="bg1"/>
                </a:solidFill>
                <a:latin typeface="+mn-lt"/>
                <a:ea typeface="+mn-ea"/>
                <a:cs typeface="+mn-cs"/>
              </a:rPr>
              <a:t>Neden</a:t>
            </a:r>
            <a:r>
              <a:rPr lang="en-US" sz="3200" b="1" dirty="0">
                <a:solidFill>
                  <a:schemeClr val="bg1"/>
                </a:solidFill>
                <a:latin typeface="+mn-lt"/>
                <a:ea typeface="+mn-ea"/>
                <a:cs typeface="+mn-cs"/>
              </a:rPr>
              <a:t> Makina </a:t>
            </a:r>
            <a:r>
              <a:rPr lang="en-US" sz="3200" b="1" dirty="0" err="1">
                <a:solidFill>
                  <a:schemeClr val="bg1"/>
                </a:solidFill>
                <a:latin typeface="+mn-lt"/>
                <a:ea typeface="+mn-ea"/>
                <a:cs typeface="+mn-cs"/>
              </a:rPr>
              <a:t>Sağlığı</a:t>
            </a:r>
            <a:r>
              <a:rPr lang="en-US" sz="3200" b="1" dirty="0">
                <a:solidFill>
                  <a:schemeClr val="bg1"/>
                </a:solidFill>
                <a:latin typeface="+mn-lt"/>
                <a:ea typeface="+mn-ea"/>
                <a:cs typeface="+mn-cs"/>
              </a:rPr>
              <a:t> </a:t>
            </a:r>
            <a:r>
              <a:rPr lang="en-US" sz="3200" b="1" dirty="0" err="1">
                <a:solidFill>
                  <a:schemeClr val="bg1"/>
                </a:solidFill>
                <a:latin typeface="+mn-lt"/>
                <a:ea typeface="+mn-ea"/>
                <a:cs typeface="+mn-cs"/>
              </a:rPr>
              <a:t>İzleme</a:t>
            </a:r>
            <a:r>
              <a:rPr lang="en-US" sz="3200" b="1" dirty="0">
                <a:solidFill>
                  <a:schemeClr val="bg1"/>
                </a:solidFill>
                <a:latin typeface="+mn-lt"/>
                <a:ea typeface="+mn-ea"/>
                <a:cs typeface="+mn-cs"/>
              </a:rPr>
              <a:t> </a:t>
            </a:r>
            <a:r>
              <a:rPr lang="en-US" sz="3200" b="1" dirty="0" err="1">
                <a:solidFill>
                  <a:schemeClr val="bg1"/>
                </a:solidFill>
                <a:latin typeface="+mn-lt"/>
                <a:ea typeface="+mn-ea"/>
                <a:cs typeface="+mn-cs"/>
              </a:rPr>
              <a:t>Sistemlerinde</a:t>
            </a:r>
            <a:r>
              <a:rPr lang="en-US" sz="3200" b="1" dirty="0">
                <a:solidFill>
                  <a:schemeClr val="bg1"/>
                </a:solidFill>
                <a:latin typeface="+mn-lt"/>
                <a:ea typeface="+mn-ea"/>
                <a:cs typeface="+mn-cs"/>
              </a:rPr>
              <a:t> </a:t>
            </a:r>
            <a:r>
              <a:rPr lang="en-US" sz="3200" b="1" dirty="0" err="1">
                <a:solidFill>
                  <a:schemeClr val="bg1"/>
                </a:solidFill>
                <a:latin typeface="+mn-lt"/>
                <a:ea typeface="+mn-ea"/>
                <a:cs typeface="+mn-cs"/>
              </a:rPr>
              <a:t>Vibrasyon</a:t>
            </a:r>
            <a:r>
              <a:rPr lang="en-US" sz="3200" b="1" dirty="0">
                <a:solidFill>
                  <a:schemeClr val="bg1"/>
                </a:solidFill>
                <a:latin typeface="+mn-lt"/>
                <a:ea typeface="+mn-ea"/>
                <a:cs typeface="+mn-cs"/>
              </a:rPr>
              <a:t> </a:t>
            </a:r>
            <a:r>
              <a:rPr lang="en-US" sz="3200" b="1" dirty="0" err="1">
                <a:solidFill>
                  <a:schemeClr val="bg1"/>
                </a:solidFill>
                <a:latin typeface="+mn-lt"/>
                <a:ea typeface="+mn-ea"/>
                <a:cs typeface="+mn-cs"/>
              </a:rPr>
              <a:t>Ölçümü</a:t>
            </a:r>
            <a:r>
              <a:rPr lang="en-US" sz="3200" b="1" dirty="0">
                <a:solidFill>
                  <a:schemeClr val="bg1"/>
                </a:solidFill>
                <a:latin typeface="+mn-lt"/>
                <a:ea typeface="+mn-ea"/>
                <a:cs typeface="+mn-cs"/>
              </a:rPr>
              <a:t>? </a:t>
            </a:r>
          </a:p>
        </p:txBody>
      </p:sp>
      <p:sp>
        <p:nvSpPr>
          <p:cNvPr id="47" name="Content Placeholder 46">
            <a:extLst>
              <a:ext uri="{FF2B5EF4-FFF2-40B4-BE49-F238E27FC236}">
                <a16:creationId xmlns:a16="http://schemas.microsoft.com/office/drawing/2014/main" id="{167D8121-2F6E-4408-ABAA-BCD7E4F37CDF}"/>
              </a:ext>
            </a:extLst>
          </p:cNvPr>
          <p:cNvSpPr>
            <a:spLocks noGrp="1"/>
          </p:cNvSpPr>
          <p:nvPr>
            <p:ph sz="quarter" idx="12"/>
          </p:nvPr>
        </p:nvSpPr>
        <p:spPr>
          <a:xfrm>
            <a:off x="1" y="1354022"/>
            <a:ext cx="3141712" cy="4938899"/>
          </a:xfrm>
          <a:solidFill>
            <a:schemeClr val="tx1">
              <a:lumMod val="65000"/>
              <a:lumOff val="35000"/>
            </a:schemeClr>
          </a:solidFill>
        </p:spPr>
        <p:txBody>
          <a:bodyPr>
            <a:normAutofit lnSpcReduction="10000"/>
          </a:bodyPr>
          <a:lstStyle/>
          <a:p>
            <a:pPr marL="205043" lvl="1" indent="0">
              <a:buClr>
                <a:schemeClr val="hlink"/>
              </a:buClr>
              <a:buSzPts val="1400"/>
              <a:buNone/>
            </a:pPr>
            <a:endParaRPr lang="tr-TR" dirty="0">
              <a:solidFill>
                <a:srgbClr val="FFFF00"/>
              </a:solidFill>
            </a:endParaRPr>
          </a:p>
          <a:p>
            <a:pPr marL="205043" lvl="1" indent="0">
              <a:buClr>
                <a:schemeClr val="hlink"/>
              </a:buClr>
              <a:buSzPts val="1400"/>
              <a:buNone/>
            </a:pPr>
            <a:r>
              <a:rPr lang="tr-TR" dirty="0">
                <a:solidFill>
                  <a:srgbClr val="FFFF00"/>
                </a:solidFill>
              </a:rPr>
              <a:t>KESTİRİMCİ BAKIMDA VİBRASYON ÖLÇÜMLERİ ESASTIR.</a:t>
            </a:r>
          </a:p>
          <a:p>
            <a:pPr marL="586028" lvl="1" indent="-380985">
              <a:buClr>
                <a:schemeClr val="hlink"/>
              </a:buClr>
              <a:buSzPts val="1400"/>
              <a:buFont typeface="Wingdings" panose="05000000000000000000" pitchFamily="2" charset="2"/>
              <a:buChar char="v"/>
            </a:pPr>
            <a:endParaRPr lang="tr-TR" dirty="0"/>
          </a:p>
          <a:p>
            <a:pPr marL="205043" lvl="1" indent="0">
              <a:buClr>
                <a:schemeClr val="hlink"/>
              </a:buClr>
              <a:buSzPts val="1400"/>
              <a:buNone/>
            </a:pPr>
            <a:endParaRPr lang="tr-TR" dirty="0">
              <a:solidFill>
                <a:schemeClr val="bg1"/>
              </a:solidFill>
            </a:endParaRPr>
          </a:p>
          <a:p>
            <a:pPr marL="205043" lvl="1" indent="0">
              <a:buClr>
                <a:schemeClr val="hlink"/>
              </a:buClr>
              <a:buSzPts val="1400"/>
              <a:buNone/>
            </a:pPr>
            <a:r>
              <a:rPr lang="tr-TR" dirty="0">
                <a:solidFill>
                  <a:schemeClr val="bg1"/>
                </a:solidFill>
              </a:rPr>
              <a:t>Dönen makinaların sağlığı ile ilgili en ayrıntılı, en doğru ve en erken bilgiyi, ilgili makinanın yatakları üzerinden alınan titreşim ölçümlerinin analizi ile edinilir. </a:t>
            </a:r>
            <a:endParaRPr lang="en-US" dirty="0">
              <a:solidFill>
                <a:schemeClr val="bg1"/>
              </a:solidFill>
            </a:endParaRPr>
          </a:p>
        </p:txBody>
      </p:sp>
      <p:pic>
        <p:nvPicPr>
          <p:cNvPr id="7" name="Picture 122">
            <a:extLst>
              <a:ext uri="{FF2B5EF4-FFF2-40B4-BE49-F238E27FC236}">
                <a16:creationId xmlns:a16="http://schemas.microsoft.com/office/drawing/2014/main" id="{CDCB4C3C-59EA-4891-89CD-0E3BD354178E}"/>
              </a:ext>
            </a:extLst>
          </p:cNvPr>
          <p:cNvPicPr>
            <a:picLocks noChangeAspect="1" noChangeArrowheads="1"/>
          </p:cNvPicPr>
          <p:nvPr/>
        </p:nvPicPr>
        <p:blipFill>
          <a:blip r:embed="rId3"/>
          <a:srcRect/>
          <a:stretch>
            <a:fillRect/>
          </a:stretch>
        </p:blipFill>
        <p:spPr bwMode="auto">
          <a:xfrm>
            <a:off x="7301072" y="1825425"/>
            <a:ext cx="546738" cy="541072"/>
          </a:xfrm>
          <a:prstGeom prst="rect">
            <a:avLst/>
          </a:prstGeom>
          <a:noFill/>
          <a:ln w="19050" algn="ctr">
            <a:noFill/>
            <a:miter lim="800000"/>
            <a:headEnd/>
            <a:tailEnd/>
          </a:ln>
          <a:effectLst/>
        </p:spPr>
      </p:pic>
      <p:sp>
        <p:nvSpPr>
          <p:cNvPr id="8" name="Freeform 4">
            <a:extLst>
              <a:ext uri="{FF2B5EF4-FFF2-40B4-BE49-F238E27FC236}">
                <a16:creationId xmlns:a16="http://schemas.microsoft.com/office/drawing/2014/main" id="{2D09910E-A68B-4AA7-873B-C0D2B485958F}"/>
              </a:ext>
            </a:extLst>
          </p:cNvPr>
          <p:cNvSpPr>
            <a:spLocks/>
          </p:cNvSpPr>
          <p:nvPr/>
        </p:nvSpPr>
        <p:spPr bwMode="auto">
          <a:xfrm>
            <a:off x="4245773" y="2274773"/>
            <a:ext cx="5470525" cy="2828925"/>
          </a:xfrm>
          <a:custGeom>
            <a:avLst/>
            <a:gdLst/>
            <a:ahLst/>
            <a:cxnLst>
              <a:cxn ang="0">
                <a:pos x="3446" y="1782"/>
              </a:cxn>
              <a:cxn ang="0">
                <a:pos x="3401" y="1237"/>
              </a:cxn>
              <a:cxn ang="0">
                <a:pos x="3238" y="705"/>
              </a:cxn>
              <a:cxn ang="0">
                <a:pos x="2766" y="285"/>
              </a:cxn>
              <a:cxn ang="0">
                <a:pos x="1741" y="80"/>
              </a:cxn>
              <a:cxn ang="0">
                <a:pos x="906" y="13"/>
              </a:cxn>
              <a:cxn ang="0">
                <a:pos x="0" y="0"/>
              </a:cxn>
            </a:cxnLst>
            <a:rect l="0" t="0" r="r" b="b"/>
            <a:pathLst>
              <a:path w="3446" h="1782">
                <a:moveTo>
                  <a:pt x="3446" y="1782"/>
                </a:moveTo>
                <a:cubicBezTo>
                  <a:pt x="3435" y="1589"/>
                  <a:pt x="3436" y="1416"/>
                  <a:pt x="3401" y="1237"/>
                </a:cubicBezTo>
                <a:cubicBezTo>
                  <a:pt x="3366" y="1058"/>
                  <a:pt x="3344" y="864"/>
                  <a:pt x="3238" y="705"/>
                </a:cubicBezTo>
                <a:cubicBezTo>
                  <a:pt x="3132" y="546"/>
                  <a:pt x="3015" y="389"/>
                  <a:pt x="2766" y="285"/>
                </a:cubicBezTo>
                <a:cubicBezTo>
                  <a:pt x="2517" y="181"/>
                  <a:pt x="2051" y="125"/>
                  <a:pt x="1741" y="80"/>
                </a:cubicBezTo>
                <a:cubicBezTo>
                  <a:pt x="1431" y="35"/>
                  <a:pt x="1196" y="26"/>
                  <a:pt x="906" y="13"/>
                </a:cubicBezTo>
                <a:cubicBezTo>
                  <a:pt x="616" y="0"/>
                  <a:pt x="189" y="3"/>
                  <a:pt x="0" y="0"/>
                </a:cubicBezTo>
              </a:path>
            </a:pathLst>
          </a:custGeom>
          <a:noFill/>
          <a:ln w="19050" cap="flat" cmpd="sng">
            <a:solidFill>
              <a:schemeClr val="tx1"/>
            </a:solidFill>
            <a:prstDash val="solid"/>
            <a:round/>
            <a:headEnd/>
            <a:tailEnd/>
          </a:ln>
          <a:effectLst/>
        </p:spPr>
        <p:txBody>
          <a:bodyPr lIns="36000" rIns="54000" bIns="36000"/>
          <a:lstStyle/>
          <a:p>
            <a:endParaRPr lang="en-US" dirty="0"/>
          </a:p>
        </p:txBody>
      </p:sp>
      <p:sp>
        <p:nvSpPr>
          <p:cNvPr id="9" name="Line 5">
            <a:extLst>
              <a:ext uri="{FF2B5EF4-FFF2-40B4-BE49-F238E27FC236}">
                <a16:creationId xmlns:a16="http://schemas.microsoft.com/office/drawing/2014/main" id="{B5A30478-3CCD-47E7-B0BE-DCAF044C9BAE}"/>
              </a:ext>
            </a:extLst>
          </p:cNvPr>
          <p:cNvSpPr>
            <a:spLocks noChangeShapeType="1"/>
          </p:cNvSpPr>
          <p:nvPr/>
        </p:nvSpPr>
        <p:spPr bwMode="auto">
          <a:xfrm flipV="1">
            <a:off x="4244184" y="2041411"/>
            <a:ext cx="1588" cy="3044825"/>
          </a:xfrm>
          <a:prstGeom prst="line">
            <a:avLst/>
          </a:prstGeom>
          <a:noFill/>
          <a:ln w="19050">
            <a:solidFill>
              <a:schemeClr val="tx1"/>
            </a:solidFill>
            <a:round/>
            <a:headEnd/>
            <a:tailEnd type="triangle" w="med" len="med"/>
          </a:ln>
          <a:effectLst/>
        </p:spPr>
        <p:txBody>
          <a:bodyPr/>
          <a:lstStyle/>
          <a:p>
            <a:endParaRPr lang="en-US" dirty="0"/>
          </a:p>
        </p:txBody>
      </p:sp>
      <p:sp>
        <p:nvSpPr>
          <p:cNvPr id="10" name="Line 6">
            <a:extLst>
              <a:ext uri="{FF2B5EF4-FFF2-40B4-BE49-F238E27FC236}">
                <a16:creationId xmlns:a16="http://schemas.microsoft.com/office/drawing/2014/main" id="{9C841530-870F-4017-9DDD-762C9AA5FB0B}"/>
              </a:ext>
            </a:extLst>
          </p:cNvPr>
          <p:cNvSpPr>
            <a:spLocks noChangeShapeType="1"/>
          </p:cNvSpPr>
          <p:nvPr/>
        </p:nvSpPr>
        <p:spPr bwMode="auto">
          <a:xfrm>
            <a:off x="4244184" y="5086235"/>
            <a:ext cx="6613525" cy="0"/>
          </a:xfrm>
          <a:prstGeom prst="line">
            <a:avLst/>
          </a:prstGeom>
          <a:noFill/>
          <a:ln w="19050">
            <a:solidFill>
              <a:schemeClr val="tx1"/>
            </a:solidFill>
            <a:round/>
            <a:headEnd/>
            <a:tailEnd type="triangle" w="med" len="med"/>
          </a:ln>
          <a:effectLst/>
        </p:spPr>
        <p:txBody>
          <a:bodyPr/>
          <a:lstStyle/>
          <a:p>
            <a:endParaRPr lang="en-US" dirty="0"/>
          </a:p>
        </p:txBody>
      </p:sp>
      <p:sp>
        <p:nvSpPr>
          <p:cNvPr id="11" name="Text Box 7">
            <a:extLst>
              <a:ext uri="{FF2B5EF4-FFF2-40B4-BE49-F238E27FC236}">
                <a16:creationId xmlns:a16="http://schemas.microsoft.com/office/drawing/2014/main" id="{DFE84D2A-3259-48BD-9E6E-6CE5C8241EDB}"/>
              </a:ext>
            </a:extLst>
          </p:cNvPr>
          <p:cNvSpPr txBox="1">
            <a:spLocks noChangeArrowheads="1"/>
          </p:cNvSpPr>
          <p:nvPr/>
        </p:nvSpPr>
        <p:spPr bwMode="auto">
          <a:xfrm rot="16200000">
            <a:off x="3090072" y="2679659"/>
            <a:ext cx="1968500" cy="298303"/>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400" b="1" dirty="0">
                <a:solidFill>
                  <a:schemeClr val="dk2"/>
                </a:solidFill>
              </a:rPr>
              <a:t>Machine state</a:t>
            </a:r>
          </a:p>
        </p:txBody>
      </p:sp>
      <p:sp>
        <p:nvSpPr>
          <p:cNvPr id="12" name="Oval 8">
            <a:extLst>
              <a:ext uri="{FF2B5EF4-FFF2-40B4-BE49-F238E27FC236}">
                <a16:creationId xmlns:a16="http://schemas.microsoft.com/office/drawing/2014/main" id="{E96B9AD0-C809-49D2-9DED-A6B24355F7D0}"/>
              </a:ext>
            </a:extLst>
          </p:cNvPr>
          <p:cNvSpPr>
            <a:spLocks noChangeArrowheads="1"/>
          </p:cNvSpPr>
          <p:nvPr/>
        </p:nvSpPr>
        <p:spPr bwMode="auto">
          <a:xfrm>
            <a:off x="5480848" y="2223973"/>
            <a:ext cx="130175" cy="125413"/>
          </a:xfrm>
          <a:prstGeom prst="ellipse">
            <a:avLst/>
          </a:prstGeom>
          <a:solidFill>
            <a:schemeClr val="dk2"/>
          </a:solidFill>
          <a:ln w="9525">
            <a:solidFill>
              <a:schemeClr val="dk2"/>
            </a:solidFill>
            <a:round/>
            <a:headEnd/>
            <a:tailEnd/>
          </a:ln>
          <a:effectLst/>
        </p:spPr>
        <p:txBody>
          <a:bodyPr wrap="none" anchor="ctr"/>
          <a:lstStyle/>
          <a:p>
            <a:endParaRPr lang="en-US" dirty="0"/>
          </a:p>
        </p:txBody>
      </p:sp>
      <p:sp>
        <p:nvSpPr>
          <p:cNvPr id="13" name="Text Box 9">
            <a:extLst>
              <a:ext uri="{FF2B5EF4-FFF2-40B4-BE49-F238E27FC236}">
                <a16:creationId xmlns:a16="http://schemas.microsoft.com/office/drawing/2014/main" id="{8D2723CC-C364-4797-B3E0-A8BADF507087}"/>
              </a:ext>
            </a:extLst>
          </p:cNvPr>
          <p:cNvSpPr txBox="1">
            <a:spLocks noChangeArrowheads="1"/>
          </p:cNvSpPr>
          <p:nvPr/>
        </p:nvSpPr>
        <p:spPr bwMode="auto">
          <a:xfrm>
            <a:off x="4779845" y="1690383"/>
            <a:ext cx="1112837" cy="513747"/>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400" dirty="0"/>
              <a:t>Change of condition</a:t>
            </a:r>
          </a:p>
        </p:txBody>
      </p:sp>
      <p:sp>
        <p:nvSpPr>
          <p:cNvPr id="15" name="Oval 12">
            <a:extLst>
              <a:ext uri="{FF2B5EF4-FFF2-40B4-BE49-F238E27FC236}">
                <a16:creationId xmlns:a16="http://schemas.microsoft.com/office/drawing/2014/main" id="{DCE70856-F4DF-4DB9-9A5E-0B65D7F0FC48}"/>
              </a:ext>
            </a:extLst>
          </p:cNvPr>
          <p:cNvSpPr>
            <a:spLocks noChangeArrowheads="1"/>
          </p:cNvSpPr>
          <p:nvPr/>
        </p:nvSpPr>
        <p:spPr bwMode="auto">
          <a:xfrm>
            <a:off x="8573298" y="2674823"/>
            <a:ext cx="130175" cy="125413"/>
          </a:xfrm>
          <a:prstGeom prst="ellipse">
            <a:avLst/>
          </a:prstGeom>
          <a:solidFill>
            <a:schemeClr val="tx1"/>
          </a:solidFill>
          <a:ln w="9525">
            <a:solidFill>
              <a:schemeClr val="tx1"/>
            </a:solidFill>
            <a:round/>
            <a:headEnd/>
            <a:tailEnd/>
          </a:ln>
          <a:effectLst/>
        </p:spPr>
        <p:txBody>
          <a:bodyPr wrap="none" anchor="ctr"/>
          <a:lstStyle/>
          <a:p>
            <a:endParaRPr lang="en-US" dirty="0"/>
          </a:p>
        </p:txBody>
      </p:sp>
      <p:sp>
        <p:nvSpPr>
          <p:cNvPr id="16" name="Text Box 13">
            <a:extLst>
              <a:ext uri="{FF2B5EF4-FFF2-40B4-BE49-F238E27FC236}">
                <a16:creationId xmlns:a16="http://schemas.microsoft.com/office/drawing/2014/main" id="{AEE25DF9-96B1-4C9B-B3D0-815E734E4A80}"/>
              </a:ext>
            </a:extLst>
          </p:cNvPr>
          <p:cNvSpPr txBox="1">
            <a:spLocks noChangeArrowheads="1"/>
          </p:cNvSpPr>
          <p:nvPr/>
        </p:nvSpPr>
        <p:spPr bwMode="auto">
          <a:xfrm>
            <a:off x="8636798" y="2471623"/>
            <a:ext cx="1076325" cy="298303"/>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400" dirty="0"/>
              <a:t>Noise</a:t>
            </a:r>
          </a:p>
        </p:txBody>
      </p:sp>
      <p:sp>
        <p:nvSpPr>
          <p:cNvPr id="17" name="Oval 14">
            <a:extLst>
              <a:ext uri="{FF2B5EF4-FFF2-40B4-BE49-F238E27FC236}">
                <a16:creationId xmlns:a16="http://schemas.microsoft.com/office/drawing/2014/main" id="{0DC786E6-6A31-40C0-B9A2-A9018708BA1C}"/>
              </a:ext>
            </a:extLst>
          </p:cNvPr>
          <p:cNvSpPr>
            <a:spLocks noChangeArrowheads="1"/>
          </p:cNvSpPr>
          <p:nvPr/>
        </p:nvSpPr>
        <p:spPr bwMode="auto">
          <a:xfrm>
            <a:off x="9367048" y="3395547"/>
            <a:ext cx="130175" cy="127000"/>
          </a:xfrm>
          <a:prstGeom prst="ellipse">
            <a:avLst/>
          </a:prstGeom>
          <a:solidFill>
            <a:schemeClr val="tx1"/>
          </a:solidFill>
          <a:ln w="9525">
            <a:solidFill>
              <a:schemeClr val="tx1"/>
            </a:solidFill>
            <a:round/>
            <a:headEnd/>
            <a:tailEnd/>
          </a:ln>
          <a:effectLst/>
        </p:spPr>
        <p:txBody>
          <a:bodyPr wrap="none" anchor="ctr"/>
          <a:lstStyle/>
          <a:p>
            <a:endParaRPr lang="en-US" dirty="0"/>
          </a:p>
        </p:txBody>
      </p:sp>
      <p:sp>
        <p:nvSpPr>
          <p:cNvPr id="18" name="Text Box 15">
            <a:extLst>
              <a:ext uri="{FF2B5EF4-FFF2-40B4-BE49-F238E27FC236}">
                <a16:creationId xmlns:a16="http://schemas.microsoft.com/office/drawing/2014/main" id="{C63D6416-8CB4-438F-AD3B-D20A08861986}"/>
              </a:ext>
            </a:extLst>
          </p:cNvPr>
          <p:cNvSpPr txBox="1">
            <a:spLocks noChangeArrowheads="1"/>
          </p:cNvSpPr>
          <p:nvPr/>
        </p:nvSpPr>
        <p:spPr bwMode="auto">
          <a:xfrm>
            <a:off x="9382028" y="3115500"/>
            <a:ext cx="1123950" cy="298303"/>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400" dirty="0"/>
              <a:t>Temperature</a:t>
            </a:r>
          </a:p>
        </p:txBody>
      </p:sp>
      <p:sp>
        <p:nvSpPr>
          <p:cNvPr id="19" name="Text Box 19">
            <a:extLst>
              <a:ext uri="{FF2B5EF4-FFF2-40B4-BE49-F238E27FC236}">
                <a16:creationId xmlns:a16="http://schemas.microsoft.com/office/drawing/2014/main" id="{68CEFA8B-E0DD-4467-B0F9-037E64174FAA}"/>
              </a:ext>
            </a:extLst>
          </p:cNvPr>
          <p:cNvSpPr txBox="1">
            <a:spLocks noChangeArrowheads="1"/>
          </p:cNvSpPr>
          <p:nvPr/>
        </p:nvSpPr>
        <p:spPr bwMode="auto">
          <a:xfrm>
            <a:off x="6958809" y="5878397"/>
            <a:ext cx="2201863" cy="369332"/>
          </a:xfrm>
          <a:prstGeom prst="rect">
            <a:avLst/>
          </a:prstGeom>
          <a:noFill/>
          <a:ln w="9525">
            <a:noFill/>
            <a:miter lim="800000"/>
            <a:headEnd/>
            <a:tailEnd/>
          </a:ln>
          <a:effectLst/>
        </p:spPr>
        <p:txBody>
          <a:bodyPr>
            <a:spAutoFit/>
          </a:bodyPr>
          <a:lstStyle/>
          <a:p>
            <a:pPr algn="ctr">
              <a:spcBef>
                <a:spcPct val="50000"/>
              </a:spcBef>
            </a:pPr>
            <a:r>
              <a:rPr lang="en-US" b="1">
                <a:solidFill>
                  <a:schemeClr val="dk2"/>
                </a:solidFill>
              </a:rPr>
              <a:t>Warning time</a:t>
            </a:r>
            <a:endParaRPr lang="en-US" b="1" dirty="0">
              <a:solidFill>
                <a:schemeClr val="dk2"/>
              </a:solidFill>
            </a:endParaRPr>
          </a:p>
        </p:txBody>
      </p:sp>
      <p:sp>
        <p:nvSpPr>
          <p:cNvPr id="20" name="Line 20">
            <a:extLst>
              <a:ext uri="{FF2B5EF4-FFF2-40B4-BE49-F238E27FC236}">
                <a16:creationId xmlns:a16="http://schemas.microsoft.com/office/drawing/2014/main" id="{59DAAABA-C097-43B9-8A10-2CE63D456C99}"/>
              </a:ext>
            </a:extLst>
          </p:cNvPr>
          <p:cNvSpPr>
            <a:spLocks noChangeShapeType="1"/>
          </p:cNvSpPr>
          <p:nvPr/>
        </p:nvSpPr>
        <p:spPr bwMode="auto">
          <a:xfrm>
            <a:off x="5539584" y="2349385"/>
            <a:ext cx="0" cy="2736850"/>
          </a:xfrm>
          <a:prstGeom prst="line">
            <a:avLst/>
          </a:prstGeom>
          <a:noFill/>
          <a:ln w="9525">
            <a:solidFill>
              <a:schemeClr val="dk2"/>
            </a:solidFill>
            <a:prstDash val="lgDash"/>
            <a:round/>
            <a:headEnd/>
            <a:tailEnd/>
          </a:ln>
          <a:effectLst/>
        </p:spPr>
        <p:txBody>
          <a:bodyPr lIns="36000" rIns="54000" bIns="36000"/>
          <a:lstStyle/>
          <a:p>
            <a:endParaRPr lang="en-US" dirty="0"/>
          </a:p>
        </p:txBody>
      </p:sp>
      <p:sp>
        <p:nvSpPr>
          <p:cNvPr id="21" name="Line 21">
            <a:extLst>
              <a:ext uri="{FF2B5EF4-FFF2-40B4-BE49-F238E27FC236}">
                <a16:creationId xmlns:a16="http://schemas.microsoft.com/office/drawing/2014/main" id="{35286E44-DB7F-45F2-BE46-E05288DEB080}"/>
              </a:ext>
            </a:extLst>
          </p:cNvPr>
          <p:cNvSpPr>
            <a:spLocks noChangeShapeType="1"/>
          </p:cNvSpPr>
          <p:nvPr/>
        </p:nvSpPr>
        <p:spPr bwMode="auto">
          <a:xfrm flipH="1">
            <a:off x="6403184" y="2349385"/>
            <a:ext cx="1588" cy="3600450"/>
          </a:xfrm>
          <a:prstGeom prst="line">
            <a:avLst/>
          </a:prstGeom>
          <a:noFill/>
          <a:ln w="9525">
            <a:solidFill>
              <a:schemeClr val="accent2"/>
            </a:solidFill>
            <a:prstDash val="lgDash"/>
            <a:round/>
            <a:headEnd/>
            <a:tailEnd/>
          </a:ln>
          <a:effectLst/>
        </p:spPr>
        <p:txBody>
          <a:bodyPr lIns="36000" rIns="54000" bIns="36000"/>
          <a:lstStyle/>
          <a:p>
            <a:endParaRPr lang="en-US" dirty="0"/>
          </a:p>
        </p:txBody>
      </p:sp>
      <p:sp>
        <p:nvSpPr>
          <p:cNvPr id="22" name="Line 22">
            <a:extLst>
              <a:ext uri="{FF2B5EF4-FFF2-40B4-BE49-F238E27FC236}">
                <a16:creationId xmlns:a16="http://schemas.microsoft.com/office/drawing/2014/main" id="{98C8B167-26BE-4B67-8B6E-0963EEF82E17}"/>
              </a:ext>
            </a:extLst>
          </p:cNvPr>
          <p:cNvSpPr>
            <a:spLocks noChangeShapeType="1"/>
          </p:cNvSpPr>
          <p:nvPr/>
        </p:nvSpPr>
        <p:spPr bwMode="auto">
          <a:xfrm>
            <a:off x="8636797" y="2709747"/>
            <a:ext cx="0" cy="3024188"/>
          </a:xfrm>
          <a:prstGeom prst="line">
            <a:avLst/>
          </a:prstGeom>
          <a:noFill/>
          <a:ln w="9525">
            <a:solidFill>
              <a:schemeClr val="tx1"/>
            </a:solidFill>
            <a:prstDash val="lgDash"/>
            <a:round/>
            <a:headEnd/>
            <a:tailEnd/>
          </a:ln>
          <a:effectLst/>
        </p:spPr>
        <p:txBody>
          <a:bodyPr lIns="36000" rIns="54000" bIns="36000"/>
          <a:lstStyle/>
          <a:p>
            <a:endParaRPr lang="en-US" dirty="0"/>
          </a:p>
        </p:txBody>
      </p:sp>
      <p:sp>
        <p:nvSpPr>
          <p:cNvPr id="23" name="Line 23">
            <a:extLst>
              <a:ext uri="{FF2B5EF4-FFF2-40B4-BE49-F238E27FC236}">
                <a16:creationId xmlns:a16="http://schemas.microsoft.com/office/drawing/2014/main" id="{1360573A-44F3-4EA9-94AC-4A7897A4CD3E}"/>
              </a:ext>
            </a:extLst>
          </p:cNvPr>
          <p:cNvSpPr>
            <a:spLocks noChangeShapeType="1"/>
          </p:cNvSpPr>
          <p:nvPr/>
        </p:nvSpPr>
        <p:spPr bwMode="auto">
          <a:xfrm>
            <a:off x="9427372" y="3501911"/>
            <a:ext cx="0" cy="2016125"/>
          </a:xfrm>
          <a:prstGeom prst="line">
            <a:avLst/>
          </a:prstGeom>
          <a:noFill/>
          <a:ln w="9525">
            <a:solidFill>
              <a:schemeClr val="tx1"/>
            </a:solidFill>
            <a:prstDash val="lgDash"/>
            <a:round/>
            <a:headEnd/>
            <a:tailEnd/>
          </a:ln>
          <a:effectLst/>
        </p:spPr>
        <p:txBody>
          <a:bodyPr lIns="36000" rIns="54000" bIns="36000"/>
          <a:lstStyle/>
          <a:p>
            <a:endParaRPr lang="en-US" dirty="0"/>
          </a:p>
        </p:txBody>
      </p:sp>
      <p:sp>
        <p:nvSpPr>
          <p:cNvPr id="24" name="Line 25">
            <a:extLst>
              <a:ext uri="{FF2B5EF4-FFF2-40B4-BE49-F238E27FC236}">
                <a16:creationId xmlns:a16="http://schemas.microsoft.com/office/drawing/2014/main" id="{414BDD60-4BAC-4623-A6C4-65A7F01EBAC4}"/>
              </a:ext>
            </a:extLst>
          </p:cNvPr>
          <p:cNvSpPr>
            <a:spLocks noChangeShapeType="1"/>
          </p:cNvSpPr>
          <p:nvPr/>
        </p:nvSpPr>
        <p:spPr bwMode="auto">
          <a:xfrm>
            <a:off x="9716297" y="5086235"/>
            <a:ext cx="0" cy="863600"/>
          </a:xfrm>
          <a:prstGeom prst="line">
            <a:avLst/>
          </a:prstGeom>
          <a:noFill/>
          <a:ln w="9525">
            <a:solidFill>
              <a:schemeClr val="tx1"/>
            </a:solidFill>
            <a:prstDash val="lgDash"/>
            <a:round/>
            <a:headEnd/>
            <a:tailEnd/>
          </a:ln>
          <a:effectLst/>
        </p:spPr>
        <p:txBody>
          <a:bodyPr lIns="36000" rIns="54000" bIns="36000"/>
          <a:lstStyle/>
          <a:p>
            <a:endParaRPr lang="en-US" dirty="0"/>
          </a:p>
        </p:txBody>
      </p:sp>
      <p:sp>
        <p:nvSpPr>
          <p:cNvPr id="25" name="Text Box 26">
            <a:extLst>
              <a:ext uri="{FF2B5EF4-FFF2-40B4-BE49-F238E27FC236}">
                <a16:creationId xmlns:a16="http://schemas.microsoft.com/office/drawing/2014/main" id="{973C732A-76F9-4FE3-A856-20F96F707E5E}"/>
              </a:ext>
            </a:extLst>
          </p:cNvPr>
          <p:cNvSpPr txBox="1">
            <a:spLocks noChangeArrowheads="1"/>
          </p:cNvSpPr>
          <p:nvPr/>
        </p:nvSpPr>
        <p:spPr bwMode="auto">
          <a:xfrm>
            <a:off x="9879809" y="5302135"/>
            <a:ext cx="785813" cy="267525"/>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200" b="1">
                <a:solidFill>
                  <a:schemeClr val="dk2"/>
                </a:solidFill>
              </a:rPr>
              <a:t>Days</a:t>
            </a:r>
            <a:endParaRPr lang="en-US" sz="1200" b="1" dirty="0">
              <a:solidFill>
                <a:schemeClr val="dk2"/>
              </a:solidFill>
            </a:endParaRPr>
          </a:p>
        </p:txBody>
      </p:sp>
      <p:sp>
        <p:nvSpPr>
          <p:cNvPr id="26" name="Text Box 27">
            <a:extLst>
              <a:ext uri="{FF2B5EF4-FFF2-40B4-BE49-F238E27FC236}">
                <a16:creationId xmlns:a16="http://schemas.microsoft.com/office/drawing/2014/main" id="{A02CC499-EFEB-4D0B-8EF0-BF2B83CB8254}"/>
              </a:ext>
            </a:extLst>
          </p:cNvPr>
          <p:cNvSpPr txBox="1">
            <a:spLocks noChangeArrowheads="1"/>
          </p:cNvSpPr>
          <p:nvPr/>
        </p:nvSpPr>
        <p:spPr bwMode="auto">
          <a:xfrm>
            <a:off x="9879809" y="5522797"/>
            <a:ext cx="785813" cy="267525"/>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200" b="1">
                <a:solidFill>
                  <a:schemeClr val="dk2"/>
                </a:solidFill>
              </a:rPr>
              <a:t>Weeks</a:t>
            </a:r>
            <a:endParaRPr lang="en-US" sz="1200" b="1" dirty="0">
              <a:solidFill>
                <a:schemeClr val="dk2"/>
              </a:solidFill>
            </a:endParaRPr>
          </a:p>
        </p:txBody>
      </p:sp>
      <p:sp>
        <p:nvSpPr>
          <p:cNvPr id="27" name="Text Box 28">
            <a:extLst>
              <a:ext uri="{FF2B5EF4-FFF2-40B4-BE49-F238E27FC236}">
                <a16:creationId xmlns:a16="http://schemas.microsoft.com/office/drawing/2014/main" id="{9D26EA41-37E6-40C3-902A-C638D54433F3}"/>
              </a:ext>
            </a:extLst>
          </p:cNvPr>
          <p:cNvSpPr txBox="1">
            <a:spLocks noChangeArrowheads="1"/>
          </p:cNvSpPr>
          <p:nvPr/>
        </p:nvSpPr>
        <p:spPr bwMode="auto">
          <a:xfrm>
            <a:off x="9879809" y="5743460"/>
            <a:ext cx="785813" cy="267525"/>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200" b="1" dirty="0">
                <a:solidFill>
                  <a:schemeClr val="dk2"/>
                </a:solidFill>
              </a:rPr>
              <a:t>Month</a:t>
            </a:r>
          </a:p>
        </p:txBody>
      </p:sp>
      <p:sp>
        <p:nvSpPr>
          <p:cNvPr id="28" name="Line 30">
            <a:extLst>
              <a:ext uri="{FF2B5EF4-FFF2-40B4-BE49-F238E27FC236}">
                <a16:creationId xmlns:a16="http://schemas.microsoft.com/office/drawing/2014/main" id="{521533D8-5A40-484F-888B-FBA7477F5142}"/>
              </a:ext>
            </a:extLst>
          </p:cNvPr>
          <p:cNvSpPr>
            <a:spLocks noChangeShapeType="1"/>
          </p:cNvSpPr>
          <p:nvPr/>
        </p:nvSpPr>
        <p:spPr bwMode="auto">
          <a:xfrm>
            <a:off x="9427373" y="5435485"/>
            <a:ext cx="288925" cy="0"/>
          </a:xfrm>
          <a:prstGeom prst="line">
            <a:avLst/>
          </a:prstGeom>
          <a:noFill/>
          <a:ln w="9525">
            <a:solidFill>
              <a:schemeClr val="tx1"/>
            </a:solidFill>
            <a:round/>
            <a:headEnd type="triangle" w="med" len="med"/>
            <a:tailEnd type="triangle" w="med" len="med"/>
          </a:ln>
          <a:effectLst/>
        </p:spPr>
        <p:txBody>
          <a:bodyPr lIns="36000" rIns="54000" bIns="36000"/>
          <a:lstStyle/>
          <a:p>
            <a:endParaRPr lang="en-US" dirty="0"/>
          </a:p>
        </p:txBody>
      </p:sp>
      <p:sp>
        <p:nvSpPr>
          <p:cNvPr id="29" name="Line 31">
            <a:extLst>
              <a:ext uri="{FF2B5EF4-FFF2-40B4-BE49-F238E27FC236}">
                <a16:creationId xmlns:a16="http://schemas.microsoft.com/office/drawing/2014/main" id="{2208FE00-6034-470E-AA3A-6316FC746BA3}"/>
              </a:ext>
            </a:extLst>
          </p:cNvPr>
          <p:cNvSpPr>
            <a:spLocks noChangeShapeType="1"/>
          </p:cNvSpPr>
          <p:nvPr/>
        </p:nvSpPr>
        <p:spPr bwMode="auto">
          <a:xfrm>
            <a:off x="8636797" y="5656147"/>
            <a:ext cx="1079500" cy="0"/>
          </a:xfrm>
          <a:prstGeom prst="line">
            <a:avLst/>
          </a:prstGeom>
          <a:noFill/>
          <a:ln w="9525">
            <a:solidFill>
              <a:schemeClr val="tx1"/>
            </a:solidFill>
            <a:round/>
            <a:headEnd type="triangle" w="med" len="med"/>
            <a:tailEnd type="triangle" w="med" len="med"/>
          </a:ln>
          <a:effectLst/>
        </p:spPr>
        <p:txBody>
          <a:bodyPr lIns="36000" rIns="54000" bIns="36000"/>
          <a:lstStyle/>
          <a:p>
            <a:endParaRPr lang="en-US" dirty="0"/>
          </a:p>
        </p:txBody>
      </p:sp>
      <p:sp>
        <p:nvSpPr>
          <p:cNvPr id="30" name="Line 32">
            <a:extLst>
              <a:ext uri="{FF2B5EF4-FFF2-40B4-BE49-F238E27FC236}">
                <a16:creationId xmlns:a16="http://schemas.microsoft.com/office/drawing/2014/main" id="{3C5CF877-4B21-46CF-801A-D34E34560D4B}"/>
              </a:ext>
            </a:extLst>
          </p:cNvPr>
          <p:cNvSpPr>
            <a:spLocks noChangeShapeType="1"/>
          </p:cNvSpPr>
          <p:nvPr/>
        </p:nvSpPr>
        <p:spPr bwMode="auto">
          <a:xfrm>
            <a:off x="6403184" y="5876810"/>
            <a:ext cx="3313113" cy="0"/>
          </a:xfrm>
          <a:prstGeom prst="line">
            <a:avLst/>
          </a:prstGeom>
          <a:noFill/>
          <a:ln w="9525">
            <a:solidFill>
              <a:schemeClr val="accent2"/>
            </a:solidFill>
            <a:round/>
            <a:headEnd type="triangle" w="med" len="med"/>
            <a:tailEnd type="triangle" w="med" len="med"/>
          </a:ln>
          <a:effectLst/>
        </p:spPr>
        <p:txBody>
          <a:bodyPr lIns="36000" rIns="54000" bIns="36000"/>
          <a:lstStyle/>
          <a:p>
            <a:endParaRPr lang="en-US" dirty="0"/>
          </a:p>
        </p:txBody>
      </p:sp>
      <p:sp>
        <p:nvSpPr>
          <p:cNvPr id="31" name="AutoShape 61">
            <a:extLst>
              <a:ext uri="{FF2B5EF4-FFF2-40B4-BE49-F238E27FC236}">
                <a16:creationId xmlns:a16="http://schemas.microsoft.com/office/drawing/2014/main" id="{8F495D92-A7A4-4B6A-A36D-33F696E5D502}"/>
              </a:ext>
            </a:extLst>
          </p:cNvPr>
          <p:cNvSpPr>
            <a:spLocks noChangeArrowheads="1"/>
          </p:cNvSpPr>
          <p:nvPr/>
        </p:nvSpPr>
        <p:spPr bwMode="auto">
          <a:xfrm>
            <a:off x="6333334" y="1701685"/>
            <a:ext cx="142875" cy="431800"/>
          </a:xfrm>
          <a:prstGeom prst="downArrow">
            <a:avLst>
              <a:gd name="adj1" fmla="val 50000"/>
              <a:gd name="adj2" fmla="val 75556"/>
            </a:avLst>
          </a:prstGeom>
          <a:solidFill>
            <a:schemeClr val="accent2"/>
          </a:solidFill>
          <a:ln w="12700" algn="ctr">
            <a:solidFill>
              <a:schemeClr val="accent2"/>
            </a:solidFill>
            <a:miter lim="800000"/>
            <a:headEnd/>
            <a:tailEnd/>
          </a:ln>
          <a:effectLst/>
        </p:spPr>
        <p:txBody>
          <a:bodyPr wrap="none" lIns="36000" rIns="54000" bIns="36000" anchor="ctr"/>
          <a:lstStyle/>
          <a:p>
            <a:endParaRPr lang="en-US" dirty="0"/>
          </a:p>
        </p:txBody>
      </p:sp>
      <p:sp>
        <p:nvSpPr>
          <p:cNvPr id="32" name="Text Box 89">
            <a:extLst>
              <a:ext uri="{FF2B5EF4-FFF2-40B4-BE49-F238E27FC236}">
                <a16:creationId xmlns:a16="http://schemas.microsoft.com/office/drawing/2014/main" id="{849A5683-C9C8-4518-9BD4-DDDF711322AC}"/>
              </a:ext>
            </a:extLst>
          </p:cNvPr>
          <p:cNvSpPr txBox="1">
            <a:spLocks noChangeArrowheads="1"/>
          </p:cNvSpPr>
          <p:nvPr/>
        </p:nvSpPr>
        <p:spPr bwMode="auto">
          <a:xfrm>
            <a:off x="6238084" y="1354022"/>
            <a:ext cx="2047875" cy="369332"/>
          </a:xfrm>
          <a:prstGeom prst="rect">
            <a:avLst/>
          </a:prstGeom>
          <a:noFill/>
          <a:ln w="19050" algn="ctr">
            <a:noFill/>
            <a:miter lim="800000"/>
            <a:headEnd/>
            <a:tailEnd/>
          </a:ln>
          <a:effectLst/>
        </p:spPr>
        <p:txBody>
          <a:bodyPr>
            <a:spAutoFit/>
          </a:bodyPr>
          <a:lstStyle/>
          <a:p>
            <a:pPr>
              <a:spcBef>
                <a:spcPct val="50000"/>
              </a:spcBef>
            </a:pPr>
            <a:r>
              <a:rPr lang="en-US" b="1">
                <a:solidFill>
                  <a:schemeClr val="dk2"/>
                </a:solidFill>
              </a:rPr>
              <a:t>Problem detected</a:t>
            </a:r>
            <a:endParaRPr lang="en-US" b="1" dirty="0">
              <a:solidFill>
                <a:schemeClr val="dk2"/>
              </a:solidFill>
            </a:endParaRPr>
          </a:p>
        </p:txBody>
      </p:sp>
      <p:sp>
        <p:nvSpPr>
          <p:cNvPr id="33" name="Text Box 91">
            <a:extLst>
              <a:ext uri="{FF2B5EF4-FFF2-40B4-BE49-F238E27FC236}">
                <a16:creationId xmlns:a16="http://schemas.microsoft.com/office/drawing/2014/main" id="{BF91393B-58B1-4C46-94B5-50FDA62FD96D}"/>
              </a:ext>
            </a:extLst>
          </p:cNvPr>
          <p:cNvSpPr txBox="1">
            <a:spLocks noChangeArrowheads="1"/>
          </p:cNvSpPr>
          <p:nvPr/>
        </p:nvSpPr>
        <p:spPr bwMode="auto">
          <a:xfrm>
            <a:off x="9686134" y="4775086"/>
            <a:ext cx="1657350" cy="307777"/>
          </a:xfrm>
          <a:prstGeom prst="rect">
            <a:avLst/>
          </a:prstGeom>
          <a:noFill/>
          <a:ln w="19050" algn="ctr">
            <a:noFill/>
            <a:miter lim="800000"/>
            <a:headEnd/>
            <a:tailEnd/>
          </a:ln>
          <a:effectLst/>
        </p:spPr>
        <p:txBody>
          <a:bodyPr>
            <a:spAutoFit/>
          </a:bodyPr>
          <a:lstStyle/>
          <a:p>
            <a:pPr>
              <a:spcBef>
                <a:spcPct val="50000"/>
              </a:spcBef>
            </a:pPr>
            <a:r>
              <a:rPr lang="en-US" sz="1400"/>
              <a:t>Machine failure</a:t>
            </a:r>
            <a:endParaRPr lang="en-US" sz="1400" dirty="0"/>
          </a:p>
        </p:txBody>
      </p:sp>
      <p:grpSp>
        <p:nvGrpSpPr>
          <p:cNvPr id="34" name="Group 118">
            <a:extLst>
              <a:ext uri="{FF2B5EF4-FFF2-40B4-BE49-F238E27FC236}">
                <a16:creationId xmlns:a16="http://schemas.microsoft.com/office/drawing/2014/main" id="{65B56FDD-1106-48BE-8C68-80413DBBA42C}"/>
              </a:ext>
            </a:extLst>
          </p:cNvPr>
          <p:cNvGrpSpPr>
            <a:grpSpLocks/>
          </p:cNvGrpSpPr>
          <p:nvPr/>
        </p:nvGrpSpPr>
        <p:grpSpPr bwMode="auto">
          <a:xfrm>
            <a:off x="9322598" y="2224048"/>
            <a:ext cx="612775" cy="606425"/>
            <a:chOff x="4266" y="1518"/>
            <a:chExt cx="304" cy="302"/>
          </a:xfrm>
        </p:grpSpPr>
        <p:sp>
          <p:nvSpPr>
            <p:cNvPr id="35" name="AutoShape 93">
              <a:extLst>
                <a:ext uri="{FF2B5EF4-FFF2-40B4-BE49-F238E27FC236}">
                  <a16:creationId xmlns:a16="http://schemas.microsoft.com/office/drawing/2014/main" id="{0E757B86-DB6F-49D6-9BCE-ED1D40E6A65C}"/>
                </a:ext>
              </a:extLst>
            </p:cNvPr>
            <p:cNvSpPr>
              <a:spLocks noChangeAspect="1" noChangeArrowheads="1"/>
            </p:cNvSpPr>
            <p:nvPr/>
          </p:nvSpPr>
          <p:spPr bwMode="auto">
            <a:xfrm>
              <a:off x="4266" y="1518"/>
              <a:ext cx="304" cy="302"/>
            </a:xfrm>
            <a:prstGeom prst="roundRect">
              <a:avLst>
                <a:gd name="adj" fmla="val 16667"/>
              </a:avLst>
            </a:prstGeom>
            <a:solidFill>
              <a:schemeClr val="tx1"/>
            </a:solidFill>
            <a:ln w="19050" algn="ctr">
              <a:solidFill>
                <a:schemeClr val="tx1"/>
              </a:solidFill>
              <a:round/>
              <a:headEnd/>
              <a:tailEnd/>
            </a:ln>
            <a:effectLst/>
          </p:spPr>
          <p:txBody>
            <a:bodyPr wrap="none" anchor="ctr"/>
            <a:lstStyle/>
            <a:p>
              <a:endParaRPr lang="en-US" dirty="0"/>
            </a:p>
          </p:txBody>
        </p:sp>
        <p:grpSp>
          <p:nvGrpSpPr>
            <p:cNvPr id="36" name="Group 38">
              <a:extLst>
                <a:ext uri="{FF2B5EF4-FFF2-40B4-BE49-F238E27FC236}">
                  <a16:creationId xmlns:a16="http://schemas.microsoft.com/office/drawing/2014/main" id="{3C6F8F43-410F-4FD8-85E9-1C01A257F993}"/>
                </a:ext>
              </a:extLst>
            </p:cNvPr>
            <p:cNvGrpSpPr>
              <a:grpSpLocks noChangeAspect="1"/>
            </p:cNvGrpSpPr>
            <p:nvPr/>
          </p:nvGrpSpPr>
          <p:grpSpPr bwMode="auto">
            <a:xfrm>
              <a:off x="4307" y="1549"/>
              <a:ext cx="213" cy="234"/>
              <a:chOff x="930" y="3612"/>
              <a:chExt cx="453" cy="499"/>
            </a:xfrm>
          </p:grpSpPr>
          <p:sp>
            <p:nvSpPr>
              <p:cNvPr id="37" name="Freeform 39">
                <a:extLst>
                  <a:ext uri="{FF2B5EF4-FFF2-40B4-BE49-F238E27FC236}">
                    <a16:creationId xmlns:a16="http://schemas.microsoft.com/office/drawing/2014/main" id="{22D63B1A-83E3-464D-9B9D-9F511FEF070F}"/>
                  </a:ext>
                </a:extLst>
              </p:cNvPr>
              <p:cNvSpPr>
                <a:spLocks noChangeAspect="1"/>
              </p:cNvSpPr>
              <p:nvPr/>
            </p:nvSpPr>
            <p:spPr bwMode="auto">
              <a:xfrm>
                <a:off x="930" y="3612"/>
                <a:ext cx="227" cy="499"/>
              </a:xfrm>
              <a:custGeom>
                <a:avLst/>
                <a:gdLst/>
                <a:ahLst/>
                <a:cxnLst>
                  <a:cxn ang="0">
                    <a:pos x="0" y="181"/>
                  </a:cxn>
                  <a:cxn ang="0">
                    <a:pos x="127" y="180"/>
                  </a:cxn>
                  <a:cxn ang="0">
                    <a:pos x="227" y="0"/>
                  </a:cxn>
                  <a:cxn ang="0">
                    <a:pos x="227" y="499"/>
                  </a:cxn>
                  <a:cxn ang="0">
                    <a:pos x="127" y="320"/>
                  </a:cxn>
                  <a:cxn ang="0">
                    <a:pos x="0" y="318"/>
                  </a:cxn>
                  <a:cxn ang="0">
                    <a:pos x="0" y="181"/>
                  </a:cxn>
                </a:cxnLst>
                <a:rect l="0" t="0" r="r" b="b"/>
                <a:pathLst>
                  <a:path w="227" h="499">
                    <a:moveTo>
                      <a:pt x="0" y="181"/>
                    </a:moveTo>
                    <a:lnTo>
                      <a:pt x="127" y="180"/>
                    </a:lnTo>
                    <a:lnTo>
                      <a:pt x="227" y="0"/>
                    </a:lnTo>
                    <a:lnTo>
                      <a:pt x="227" y="499"/>
                    </a:lnTo>
                    <a:lnTo>
                      <a:pt x="127" y="320"/>
                    </a:lnTo>
                    <a:lnTo>
                      <a:pt x="0" y="318"/>
                    </a:lnTo>
                    <a:lnTo>
                      <a:pt x="0" y="181"/>
                    </a:lnTo>
                    <a:close/>
                  </a:path>
                </a:pathLst>
              </a:custGeom>
              <a:noFill/>
              <a:ln w="19050" cap="flat" cmpd="sng">
                <a:solidFill>
                  <a:schemeClr val="bg1"/>
                </a:solidFill>
                <a:prstDash val="solid"/>
                <a:round/>
                <a:headEnd type="none" w="med" len="med"/>
                <a:tailEnd type="triangle" w="med" len="med"/>
              </a:ln>
              <a:effectLst/>
            </p:spPr>
            <p:txBody>
              <a:bodyPr lIns="36000" rIns="54000" bIns="36000"/>
              <a:lstStyle/>
              <a:p>
                <a:endParaRPr lang="en-US" dirty="0"/>
              </a:p>
            </p:txBody>
          </p:sp>
          <p:sp>
            <p:nvSpPr>
              <p:cNvPr id="38" name="Arc 40">
                <a:extLst>
                  <a:ext uri="{FF2B5EF4-FFF2-40B4-BE49-F238E27FC236}">
                    <a16:creationId xmlns:a16="http://schemas.microsoft.com/office/drawing/2014/main" id="{0189B13F-7C96-46BF-AD22-F5A3F76A018F}"/>
                  </a:ext>
                </a:extLst>
              </p:cNvPr>
              <p:cNvSpPr>
                <a:spLocks noChangeAspect="1"/>
              </p:cNvSpPr>
              <p:nvPr/>
            </p:nvSpPr>
            <p:spPr bwMode="auto">
              <a:xfrm>
                <a:off x="1292" y="3612"/>
                <a:ext cx="91" cy="452"/>
              </a:xfrm>
              <a:custGeom>
                <a:avLst/>
                <a:gdLst>
                  <a:gd name="G0" fmla="+- 1989 0 0"/>
                  <a:gd name="G1" fmla="+- 21600 0 0"/>
                  <a:gd name="G2" fmla="+- 21600 0 0"/>
                  <a:gd name="T0" fmla="*/ 1989 w 23589"/>
                  <a:gd name="T1" fmla="*/ 0 h 43200"/>
                  <a:gd name="T2" fmla="*/ 0 w 23589"/>
                  <a:gd name="T3" fmla="*/ 43108 h 43200"/>
                  <a:gd name="T4" fmla="*/ 1989 w 23589"/>
                  <a:gd name="T5" fmla="*/ 21600 h 43200"/>
                </a:gdLst>
                <a:ahLst/>
                <a:cxnLst>
                  <a:cxn ang="0">
                    <a:pos x="T0" y="T1"/>
                  </a:cxn>
                  <a:cxn ang="0">
                    <a:pos x="T2" y="T3"/>
                  </a:cxn>
                  <a:cxn ang="0">
                    <a:pos x="T4" y="T5"/>
                  </a:cxn>
                </a:cxnLst>
                <a:rect l="0" t="0" r="r" b="b"/>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a:effectLst/>
            </p:spPr>
            <p:txBody>
              <a:bodyPr wrap="none" lIns="36000" rIns="54000" bIns="36000" anchor="ctr"/>
              <a:lstStyle/>
              <a:p>
                <a:endParaRPr lang="en-US" dirty="0"/>
              </a:p>
            </p:txBody>
          </p:sp>
          <p:sp>
            <p:nvSpPr>
              <p:cNvPr id="39" name="Arc 41">
                <a:extLst>
                  <a:ext uri="{FF2B5EF4-FFF2-40B4-BE49-F238E27FC236}">
                    <a16:creationId xmlns:a16="http://schemas.microsoft.com/office/drawing/2014/main" id="{F443FCC0-9772-424C-8AFA-3DFC411E5E6A}"/>
                  </a:ext>
                </a:extLst>
              </p:cNvPr>
              <p:cNvSpPr>
                <a:spLocks noChangeAspect="1"/>
              </p:cNvSpPr>
              <p:nvPr/>
            </p:nvSpPr>
            <p:spPr bwMode="auto">
              <a:xfrm>
                <a:off x="1247" y="3657"/>
                <a:ext cx="91" cy="362"/>
              </a:xfrm>
              <a:custGeom>
                <a:avLst/>
                <a:gdLst>
                  <a:gd name="G0" fmla="+- 1989 0 0"/>
                  <a:gd name="G1" fmla="+- 21600 0 0"/>
                  <a:gd name="G2" fmla="+- 21600 0 0"/>
                  <a:gd name="T0" fmla="*/ 1989 w 23589"/>
                  <a:gd name="T1" fmla="*/ 0 h 43200"/>
                  <a:gd name="T2" fmla="*/ 0 w 23589"/>
                  <a:gd name="T3" fmla="*/ 43108 h 43200"/>
                  <a:gd name="T4" fmla="*/ 1989 w 23589"/>
                  <a:gd name="T5" fmla="*/ 21600 h 43200"/>
                </a:gdLst>
                <a:ahLst/>
                <a:cxnLst>
                  <a:cxn ang="0">
                    <a:pos x="T0" y="T1"/>
                  </a:cxn>
                  <a:cxn ang="0">
                    <a:pos x="T2" y="T3"/>
                  </a:cxn>
                  <a:cxn ang="0">
                    <a:pos x="T4" y="T5"/>
                  </a:cxn>
                </a:cxnLst>
                <a:rect l="0" t="0" r="r" b="b"/>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a:effectLst/>
            </p:spPr>
            <p:txBody>
              <a:bodyPr wrap="none" lIns="36000" rIns="54000" bIns="36000" anchor="ctr"/>
              <a:lstStyle/>
              <a:p>
                <a:endParaRPr lang="en-US" dirty="0"/>
              </a:p>
            </p:txBody>
          </p:sp>
          <p:sp>
            <p:nvSpPr>
              <p:cNvPr id="40" name="Arc 42">
                <a:extLst>
                  <a:ext uri="{FF2B5EF4-FFF2-40B4-BE49-F238E27FC236}">
                    <a16:creationId xmlns:a16="http://schemas.microsoft.com/office/drawing/2014/main" id="{D3A7376F-CA73-4763-8A7D-D2D89ED43D1E}"/>
                  </a:ext>
                </a:extLst>
              </p:cNvPr>
              <p:cNvSpPr>
                <a:spLocks noChangeAspect="1"/>
              </p:cNvSpPr>
              <p:nvPr/>
            </p:nvSpPr>
            <p:spPr bwMode="auto">
              <a:xfrm>
                <a:off x="1247" y="3747"/>
                <a:ext cx="46" cy="182"/>
              </a:xfrm>
              <a:custGeom>
                <a:avLst/>
                <a:gdLst>
                  <a:gd name="G0" fmla="+- 1989 0 0"/>
                  <a:gd name="G1" fmla="+- 21600 0 0"/>
                  <a:gd name="G2" fmla="+- 21600 0 0"/>
                  <a:gd name="T0" fmla="*/ 1989 w 23589"/>
                  <a:gd name="T1" fmla="*/ 0 h 43200"/>
                  <a:gd name="T2" fmla="*/ 0 w 23589"/>
                  <a:gd name="T3" fmla="*/ 43108 h 43200"/>
                  <a:gd name="T4" fmla="*/ 1989 w 23589"/>
                  <a:gd name="T5" fmla="*/ 21600 h 43200"/>
                </a:gdLst>
                <a:ahLst/>
                <a:cxnLst>
                  <a:cxn ang="0">
                    <a:pos x="T0" y="T1"/>
                  </a:cxn>
                  <a:cxn ang="0">
                    <a:pos x="T2" y="T3"/>
                  </a:cxn>
                  <a:cxn ang="0">
                    <a:pos x="T4" y="T5"/>
                  </a:cxn>
                </a:cxnLst>
                <a:rect l="0" t="0" r="r" b="b"/>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a:effectLst/>
            </p:spPr>
            <p:txBody>
              <a:bodyPr wrap="none" lIns="36000" rIns="54000" bIns="36000" anchor="ctr"/>
              <a:lstStyle/>
              <a:p>
                <a:endParaRPr lang="en-US" dirty="0"/>
              </a:p>
            </p:txBody>
          </p:sp>
        </p:grpSp>
      </p:grpSp>
      <p:sp>
        <p:nvSpPr>
          <p:cNvPr id="41" name="Text Box 105">
            <a:extLst>
              <a:ext uri="{FF2B5EF4-FFF2-40B4-BE49-F238E27FC236}">
                <a16:creationId xmlns:a16="http://schemas.microsoft.com/office/drawing/2014/main" id="{0D9870F6-95D6-4E11-AF2B-AE7F8E0C8844}"/>
              </a:ext>
            </a:extLst>
          </p:cNvPr>
          <p:cNvSpPr txBox="1">
            <a:spLocks noChangeArrowheads="1"/>
          </p:cNvSpPr>
          <p:nvPr/>
        </p:nvSpPr>
        <p:spPr bwMode="auto">
          <a:xfrm>
            <a:off x="6433347" y="2023948"/>
            <a:ext cx="1314450" cy="298303"/>
          </a:xfrm>
          <a:prstGeom prst="rect">
            <a:avLst/>
          </a:prstGeom>
          <a:noFill/>
          <a:ln w="9525">
            <a:noFill/>
            <a:miter lim="800000"/>
            <a:headEnd/>
            <a:tailEnd/>
          </a:ln>
          <a:effectLst/>
        </p:spPr>
        <p:txBody>
          <a:bodyPr lIns="82058" tIns="41029" rIns="82058" bIns="41029">
            <a:spAutoFit/>
          </a:bodyPr>
          <a:lstStyle/>
          <a:p>
            <a:pPr defTabSz="820706">
              <a:spcBef>
                <a:spcPct val="50000"/>
              </a:spcBef>
            </a:pPr>
            <a:r>
              <a:rPr lang="en-US" sz="1400"/>
              <a:t>Vibration</a:t>
            </a:r>
            <a:endParaRPr lang="en-US" sz="1400" dirty="0"/>
          </a:p>
        </p:txBody>
      </p:sp>
      <p:pic>
        <p:nvPicPr>
          <p:cNvPr id="42" name="Picture 116" descr="blitz1">
            <a:extLst>
              <a:ext uri="{FF2B5EF4-FFF2-40B4-BE49-F238E27FC236}">
                <a16:creationId xmlns:a16="http://schemas.microsoft.com/office/drawing/2014/main" id="{63094A9B-1723-48D7-82F9-508FECA5480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214898" y="4627448"/>
            <a:ext cx="612775" cy="600075"/>
          </a:xfrm>
          <a:prstGeom prst="rect">
            <a:avLst/>
          </a:prstGeom>
          <a:noFill/>
        </p:spPr>
      </p:pic>
      <p:pic>
        <p:nvPicPr>
          <p:cNvPr id="43" name="Picture 123">
            <a:extLst>
              <a:ext uri="{FF2B5EF4-FFF2-40B4-BE49-F238E27FC236}">
                <a16:creationId xmlns:a16="http://schemas.microsoft.com/office/drawing/2014/main" id="{534D329C-A7F7-41A7-9878-76A673B3D7D8}"/>
              </a:ext>
            </a:extLst>
          </p:cNvPr>
          <p:cNvPicPr>
            <a:picLocks noChangeAspect="1" noChangeArrowheads="1"/>
          </p:cNvPicPr>
          <p:nvPr/>
        </p:nvPicPr>
        <p:blipFill>
          <a:blip r:embed="rId5"/>
          <a:srcRect/>
          <a:stretch>
            <a:fillRect/>
          </a:stretch>
        </p:blipFill>
        <p:spPr bwMode="auto">
          <a:xfrm>
            <a:off x="10552909" y="3081223"/>
            <a:ext cx="612775" cy="606425"/>
          </a:xfrm>
          <a:prstGeom prst="rect">
            <a:avLst/>
          </a:prstGeom>
          <a:noFill/>
          <a:ln w="19050" algn="ctr">
            <a:noFill/>
            <a:miter lim="800000"/>
            <a:headEnd/>
            <a:tailEnd/>
          </a:ln>
          <a:effectLst/>
        </p:spPr>
      </p:pic>
      <p:sp>
        <p:nvSpPr>
          <p:cNvPr id="14" name="Oval 10">
            <a:extLst>
              <a:ext uri="{FF2B5EF4-FFF2-40B4-BE49-F238E27FC236}">
                <a16:creationId xmlns:a16="http://schemas.microsoft.com/office/drawing/2014/main" id="{AA3B8390-85E7-4B56-92DD-7E6BB3588D3B}"/>
              </a:ext>
            </a:extLst>
          </p:cNvPr>
          <p:cNvSpPr>
            <a:spLocks noChangeArrowheads="1"/>
          </p:cNvSpPr>
          <p:nvPr/>
        </p:nvSpPr>
        <p:spPr bwMode="auto">
          <a:xfrm>
            <a:off x="6331747" y="2277947"/>
            <a:ext cx="128587" cy="127000"/>
          </a:xfrm>
          <a:prstGeom prst="ellipse">
            <a:avLst/>
          </a:prstGeom>
          <a:solidFill>
            <a:srgbClr val="A31739"/>
          </a:solidFill>
          <a:ln w="9525">
            <a:solidFill>
              <a:srgbClr val="A31739"/>
            </a:solidFill>
            <a:round/>
            <a:headEnd/>
            <a:tailEnd/>
          </a:ln>
          <a:effectLst/>
        </p:spPr>
        <p:txBody>
          <a:bodyPr wrap="none" anchor="ctr"/>
          <a:lstStyle/>
          <a:p>
            <a:endParaRPr lang="en-US" dirty="0"/>
          </a:p>
        </p:txBody>
      </p:sp>
      <p:pic>
        <p:nvPicPr>
          <p:cNvPr id="4" name="Resim 3">
            <a:extLst>
              <a:ext uri="{FF2B5EF4-FFF2-40B4-BE49-F238E27FC236}">
                <a16:creationId xmlns:a16="http://schemas.microsoft.com/office/drawing/2014/main" id="{01C71339-5696-71CD-F19E-6B4237D5D4A3}"/>
              </a:ext>
            </a:extLst>
          </p:cNvPr>
          <p:cNvPicPr>
            <a:picLocks noChangeAspect="1"/>
          </p:cNvPicPr>
          <p:nvPr/>
        </p:nvPicPr>
        <p:blipFill rotWithShape="1">
          <a:blip r:embed="rId6"/>
          <a:srcRect t="20936" b="16933"/>
          <a:stretch/>
        </p:blipFill>
        <p:spPr>
          <a:xfrm>
            <a:off x="5815753" y="4135971"/>
            <a:ext cx="1390587" cy="863998"/>
          </a:xfrm>
          <a:prstGeom prst="rect">
            <a:avLst/>
          </a:prstGeom>
        </p:spPr>
      </p:pic>
      <p:pic>
        <p:nvPicPr>
          <p:cNvPr id="6" name="Resim 5">
            <a:extLst>
              <a:ext uri="{FF2B5EF4-FFF2-40B4-BE49-F238E27FC236}">
                <a16:creationId xmlns:a16="http://schemas.microsoft.com/office/drawing/2014/main" id="{D199A6A8-C706-DFA8-8FE1-A1E1222DFEB0}"/>
              </a:ext>
            </a:extLst>
          </p:cNvPr>
          <p:cNvPicPr>
            <a:picLocks noChangeAspect="1"/>
          </p:cNvPicPr>
          <p:nvPr/>
        </p:nvPicPr>
        <p:blipFill rotWithShape="1">
          <a:blip r:embed="rId7"/>
          <a:srcRect l="17978" t="11168" r="15905" b="12605"/>
          <a:stretch/>
        </p:blipFill>
        <p:spPr>
          <a:xfrm>
            <a:off x="6027342" y="3352688"/>
            <a:ext cx="737395" cy="793455"/>
          </a:xfrm>
          <a:prstGeom prst="rect">
            <a:avLst/>
          </a:prstGeom>
        </p:spPr>
      </p:pic>
      <p:pic>
        <p:nvPicPr>
          <p:cNvPr id="44" name="Resim 43">
            <a:extLst>
              <a:ext uri="{FF2B5EF4-FFF2-40B4-BE49-F238E27FC236}">
                <a16:creationId xmlns:a16="http://schemas.microsoft.com/office/drawing/2014/main" id="{7DC0D38A-3083-7478-4033-76A58A270D21}"/>
              </a:ext>
            </a:extLst>
          </p:cNvPr>
          <p:cNvPicPr>
            <a:picLocks noChangeAspect="1"/>
          </p:cNvPicPr>
          <p:nvPr/>
        </p:nvPicPr>
        <p:blipFill>
          <a:blip r:embed="rId8"/>
          <a:stretch>
            <a:fillRect/>
          </a:stretch>
        </p:blipFill>
        <p:spPr>
          <a:xfrm>
            <a:off x="5892682" y="2417831"/>
            <a:ext cx="1062129" cy="909745"/>
          </a:xfrm>
          <a:prstGeom prst="rect">
            <a:avLst/>
          </a:prstGeom>
        </p:spPr>
      </p:pic>
    </p:spTree>
    <p:extLst>
      <p:ext uri="{BB962C8B-B14F-4D97-AF65-F5344CB8AC3E}">
        <p14:creationId xmlns:p14="http://schemas.microsoft.com/office/powerpoint/2010/main" val="3196165073"/>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3596DD-156A-473E-9BB3-C6A29F7574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2C46C4D6-C474-4E92-B52E-944C1118F7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sp>
        <p:nvSpPr>
          <p:cNvPr id="3" name="Metin kutusu 2">
            <a:extLst>
              <a:ext uri="{FF2B5EF4-FFF2-40B4-BE49-F238E27FC236}">
                <a16:creationId xmlns:a16="http://schemas.microsoft.com/office/drawing/2014/main" id="{7C8EAA1D-D751-C1CE-F681-7D48EDE8CFED}"/>
              </a:ext>
            </a:extLst>
          </p:cNvPr>
          <p:cNvSpPr txBox="1"/>
          <p:nvPr/>
        </p:nvSpPr>
        <p:spPr>
          <a:xfrm>
            <a:off x="838201" y="643467"/>
            <a:ext cx="3888526" cy="1800526"/>
          </a:xfrm>
          <a:prstGeom prst="rect">
            <a:avLst/>
          </a:prstGeom>
        </p:spPr>
        <p:txBody>
          <a:bodyPr vert="horz" lIns="91440" tIns="45720" rIns="91440" bIns="45720" rtlCol="0" anchor="ctr">
            <a:normAutofit/>
          </a:bodyPr>
          <a:lstStyle/>
          <a:p>
            <a:pPr>
              <a:lnSpc>
                <a:spcPct val="90000"/>
              </a:lnSpc>
              <a:spcBef>
                <a:spcPct val="0"/>
              </a:spcBef>
              <a:spcAft>
                <a:spcPts val="500"/>
              </a:spcAft>
            </a:pPr>
            <a:r>
              <a:rPr lang="en-US" sz="3700" b="1" kern="1200">
                <a:solidFill>
                  <a:schemeClr val="tx1"/>
                </a:solidFill>
                <a:latin typeface="+mj-lt"/>
                <a:ea typeface="+mj-ea"/>
                <a:cs typeface="+mj-cs"/>
              </a:rPr>
              <a:t>Portatif (Taşınabilir) Titreşim Analizörü ile Kestirimci Bakım</a:t>
            </a:r>
          </a:p>
        </p:txBody>
      </p:sp>
      <p:sp>
        <p:nvSpPr>
          <p:cNvPr id="6" name="Metin kutusu 5">
            <a:extLst>
              <a:ext uri="{FF2B5EF4-FFF2-40B4-BE49-F238E27FC236}">
                <a16:creationId xmlns:a16="http://schemas.microsoft.com/office/drawing/2014/main" id="{940839AF-441F-C09C-0B7E-4076CF45432E}"/>
              </a:ext>
            </a:extLst>
          </p:cNvPr>
          <p:cNvSpPr txBox="1"/>
          <p:nvPr/>
        </p:nvSpPr>
        <p:spPr>
          <a:xfrm>
            <a:off x="662471" y="2818039"/>
            <a:ext cx="4239985" cy="2519362"/>
          </a:xfrm>
          <a:prstGeom prst="rect">
            <a:avLst/>
          </a:prstGeom>
        </p:spPr>
        <p:txBody>
          <a:bodyPr vert="horz" lIns="91440" tIns="45720" rIns="91440" bIns="45720" rtlCol="0">
            <a:normAutofit/>
          </a:bodyPr>
          <a:lstStyle/>
          <a:p>
            <a:pPr marL="12699" marR="5080" indent="-228600">
              <a:lnSpc>
                <a:spcPct val="90000"/>
              </a:lnSpc>
              <a:spcAft>
                <a:spcPts val="667"/>
              </a:spcAft>
              <a:buClr>
                <a:srgbClr val="C0C5BE"/>
              </a:buClr>
              <a:buFont typeface="Arial" panose="020B0604020202020204" pitchFamily="34" charset="0"/>
              <a:buChar char="•"/>
              <a:tabLst>
                <a:tab pos="183508" algn="l"/>
              </a:tabLst>
            </a:pPr>
            <a:endParaRPr lang="en-US" sz="1900" b="1" dirty="0"/>
          </a:p>
          <a:p>
            <a:pPr marR="5080">
              <a:lnSpc>
                <a:spcPct val="90000"/>
              </a:lnSpc>
              <a:spcAft>
                <a:spcPts val="667"/>
              </a:spcAft>
              <a:buClr>
                <a:srgbClr val="C0C5BE"/>
              </a:buClr>
              <a:tabLst>
                <a:tab pos="183508" algn="l"/>
              </a:tabLst>
            </a:pPr>
            <a:r>
              <a:rPr lang="en-US" sz="2800" dirty="0" err="1"/>
              <a:t>Çoğu</a:t>
            </a:r>
            <a:r>
              <a:rPr lang="en-US" sz="2800" dirty="0"/>
              <a:t> </a:t>
            </a:r>
            <a:r>
              <a:rPr lang="en-US" sz="2800" dirty="0" err="1"/>
              <a:t>tesis</a:t>
            </a:r>
            <a:r>
              <a:rPr lang="en-US" sz="2800" dirty="0"/>
              <a:t> </a:t>
            </a:r>
            <a:r>
              <a:rPr lang="en-US" sz="2800" dirty="0" err="1"/>
              <a:t>ekipmanlarını</a:t>
            </a:r>
            <a:r>
              <a:rPr lang="en-US" sz="2800" dirty="0"/>
              <a:t> </a:t>
            </a:r>
            <a:r>
              <a:rPr lang="en-US" sz="2800" dirty="0" err="1"/>
              <a:t>periyodik</a:t>
            </a:r>
            <a:r>
              <a:rPr lang="en-US" sz="2800" dirty="0"/>
              <a:t> </a:t>
            </a:r>
            <a:r>
              <a:rPr lang="en-US" sz="2800" dirty="0" err="1"/>
              <a:t>şekilde</a:t>
            </a:r>
            <a:r>
              <a:rPr lang="tr-TR" sz="2800" dirty="0"/>
              <a:t> </a:t>
            </a:r>
            <a:r>
              <a:rPr lang="en-US" sz="2800" dirty="0"/>
              <a:t>Portatif </a:t>
            </a:r>
            <a:r>
              <a:rPr lang="en-US" sz="2800" dirty="0" err="1"/>
              <a:t>Vibrasyon</a:t>
            </a:r>
            <a:r>
              <a:rPr lang="en-US" sz="2800" dirty="0"/>
              <a:t> </a:t>
            </a:r>
            <a:r>
              <a:rPr lang="en-US" sz="2800" dirty="0" err="1"/>
              <a:t>Analizör</a:t>
            </a:r>
            <a:r>
              <a:rPr lang="tr-TR" sz="2800" dirty="0" err="1"/>
              <a:t>leri</a:t>
            </a:r>
            <a:r>
              <a:rPr lang="en-US" sz="2800" dirty="0"/>
              <a:t> </a:t>
            </a:r>
            <a:r>
              <a:rPr lang="en-US" sz="2800" dirty="0" err="1"/>
              <a:t>kullanılarak</a:t>
            </a:r>
            <a:r>
              <a:rPr lang="en-US" sz="2800" dirty="0"/>
              <a:t> </a:t>
            </a:r>
            <a:r>
              <a:rPr lang="en-US" sz="2800" dirty="0" err="1"/>
              <a:t>izlemektedir</a:t>
            </a:r>
            <a:r>
              <a:rPr lang="en-US" sz="2800" dirty="0"/>
              <a:t>. </a:t>
            </a:r>
          </a:p>
          <a:p>
            <a:pPr marL="298438" marR="5080" indent="-228600">
              <a:lnSpc>
                <a:spcPct val="90000"/>
              </a:lnSpc>
              <a:spcAft>
                <a:spcPts val="667"/>
              </a:spcAft>
              <a:buClr>
                <a:srgbClr val="C0C5BE"/>
              </a:buClr>
              <a:buFont typeface="Arial" panose="020B0604020202020204" pitchFamily="34" charset="0"/>
              <a:buChar char="•"/>
              <a:tabLst>
                <a:tab pos="183508" algn="l"/>
              </a:tabLst>
            </a:pPr>
            <a:endParaRPr lang="en-US" sz="2800" dirty="0"/>
          </a:p>
          <a:p>
            <a:pPr marL="298438" marR="5080" indent="-228600">
              <a:lnSpc>
                <a:spcPct val="90000"/>
              </a:lnSpc>
              <a:spcAft>
                <a:spcPts val="667"/>
              </a:spcAft>
              <a:buClr>
                <a:srgbClr val="C0C5BE"/>
              </a:buClr>
              <a:buFont typeface="Arial" panose="020B0604020202020204" pitchFamily="34" charset="0"/>
              <a:buChar char="•"/>
              <a:tabLst>
                <a:tab pos="183508" algn="l"/>
              </a:tabLst>
            </a:pPr>
            <a:endParaRPr lang="en-US" sz="1900" dirty="0"/>
          </a:p>
        </p:txBody>
      </p:sp>
      <p:pic>
        <p:nvPicPr>
          <p:cNvPr id="2" name="Resim 1" descr="metin, kişi, şahıs, adam, insan içeren bir resim&#10;&#10;Açıklama otomatik olarak oluşturuldu">
            <a:extLst>
              <a:ext uri="{FF2B5EF4-FFF2-40B4-BE49-F238E27FC236}">
                <a16:creationId xmlns:a16="http://schemas.microsoft.com/office/drawing/2014/main" id="{B504DFF4-167A-4FF5-AC7D-6FA7A7BE643D}"/>
              </a:ext>
            </a:extLst>
          </p:cNvPr>
          <p:cNvPicPr>
            <a:picLocks noChangeAspect="1"/>
          </p:cNvPicPr>
          <p:nvPr/>
        </p:nvPicPr>
        <p:blipFill rotWithShape="1">
          <a:blip r:embed="rId2"/>
          <a:srcRect l="5187" r="1402"/>
          <a:stretch/>
        </p:blipFill>
        <p:spPr>
          <a:xfrm>
            <a:off x="6236297" y="1551214"/>
            <a:ext cx="5606079" cy="3976007"/>
          </a:xfrm>
          <a:prstGeom prst="rect">
            <a:avLst/>
          </a:prstGeom>
        </p:spPr>
      </p:pic>
      <p:sp>
        <p:nvSpPr>
          <p:cNvPr id="5" name="Rectangle 1"/>
          <p:cNvSpPr>
            <a:spLocks noChangeArrowheads="1"/>
          </p:cNvSpPr>
          <p:nvPr/>
        </p:nvSpPr>
        <p:spPr bwMode="auto">
          <a:xfrm>
            <a:off x="1" y="88437"/>
            <a:ext cx="65" cy="20412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3225" rIns="0" bIns="-13225" numCol="1" anchor="ctr" anchorCtr="0" compatLnSpc="1">
            <a:prstTxWarp prst="textNoShape">
              <a:avLst/>
            </a:prstTxWarp>
            <a:spAutoFit/>
          </a:bodyPr>
          <a:lstStyle/>
          <a:p>
            <a:pPr defTabSz="761970" eaLnBrk="0" fontAlgn="base" hangingPunct="0">
              <a:spcBef>
                <a:spcPct val="0"/>
              </a:spcBef>
              <a:spcAft>
                <a:spcPct val="0"/>
              </a:spcAft>
            </a:pPr>
            <a:endParaRPr lang="tr-TR" altLang="tr-TR" sz="1500" dirty="0">
              <a:latin typeface="Arial" panose="020B0604020202020204" pitchFamily="34" charset="0"/>
            </a:endParaRPr>
          </a:p>
        </p:txBody>
      </p:sp>
    </p:spTree>
    <p:extLst>
      <p:ext uri="{BB962C8B-B14F-4D97-AF65-F5344CB8AC3E}">
        <p14:creationId xmlns:p14="http://schemas.microsoft.com/office/powerpoint/2010/main" val="335050080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79BB35BC-D5C2-4C8B-A22A-A71E619191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Metin kutusu 2">
            <a:extLst>
              <a:ext uri="{FF2B5EF4-FFF2-40B4-BE49-F238E27FC236}">
                <a16:creationId xmlns:a16="http://schemas.microsoft.com/office/drawing/2014/main" id="{7C8EAA1D-D751-C1CE-F681-7D48EDE8CFED}"/>
              </a:ext>
            </a:extLst>
          </p:cNvPr>
          <p:cNvSpPr txBox="1"/>
          <p:nvPr/>
        </p:nvSpPr>
        <p:spPr>
          <a:xfrm>
            <a:off x="6513788" y="190501"/>
            <a:ext cx="4840010" cy="1295400"/>
          </a:xfrm>
          <a:prstGeom prst="rect">
            <a:avLst/>
          </a:prstGeom>
        </p:spPr>
        <p:txBody>
          <a:bodyPr vert="horz" lIns="91440" tIns="45720" rIns="91440" bIns="45720" rtlCol="0" anchor="ctr">
            <a:normAutofit/>
          </a:bodyPr>
          <a:lstStyle/>
          <a:p>
            <a:pPr>
              <a:lnSpc>
                <a:spcPct val="90000"/>
              </a:lnSpc>
              <a:spcBef>
                <a:spcPct val="0"/>
              </a:spcBef>
              <a:spcAft>
                <a:spcPts val="500"/>
              </a:spcAft>
            </a:pPr>
            <a:r>
              <a:rPr lang="en-US" sz="4100" b="1" dirty="0" err="1">
                <a:latin typeface="+mj-lt"/>
                <a:ea typeface="+mj-ea"/>
                <a:cs typeface="+mj-cs"/>
              </a:rPr>
              <a:t>Bakım</a:t>
            </a:r>
            <a:r>
              <a:rPr lang="en-US" sz="4100" b="1" dirty="0">
                <a:latin typeface="+mj-lt"/>
                <a:ea typeface="+mj-ea"/>
                <a:cs typeface="+mj-cs"/>
              </a:rPr>
              <a:t> 4.0 </a:t>
            </a:r>
            <a:r>
              <a:rPr lang="en-US" sz="4100" b="1" dirty="0" err="1">
                <a:latin typeface="+mj-lt"/>
                <a:ea typeface="+mj-ea"/>
                <a:cs typeface="+mj-cs"/>
              </a:rPr>
              <a:t>Kapsamında</a:t>
            </a:r>
            <a:r>
              <a:rPr lang="en-US" sz="4100" b="1" dirty="0">
                <a:latin typeface="+mj-lt"/>
                <a:ea typeface="+mj-ea"/>
                <a:cs typeface="+mj-cs"/>
              </a:rPr>
              <a:t> </a:t>
            </a:r>
            <a:r>
              <a:rPr lang="en-US" sz="4100" b="1" dirty="0" err="1">
                <a:latin typeface="+mj-lt"/>
                <a:ea typeface="+mj-ea"/>
                <a:cs typeface="+mj-cs"/>
              </a:rPr>
              <a:t>Kestirimci</a:t>
            </a:r>
            <a:r>
              <a:rPr lang="en-US" sz="4100" b="1" dirty="0">
                <a:latin typeface="+mj-lt"/>
                <a:ea typeface="+mj-ea"/>
                <a:cs typeface="+mj-cs"/>
              </a:rPr>
              <a:t> </a:t>
            </a:r>
            <a:r>
              <a:rPr lang="en-US" sz="4100" b="1" dirty="0" err="1">
                <a:latin typeface="+mj-lt"/>
                <a:ea typeface="+mj-ea"/>
                <a:cs typeface="+mj-cs"/>
              </a:rPr>
              <a:t>Bakım</a:t>
            </a:r>
            <a:endParaRPr lang="en-US" sz="4100" b="1" dirty="0">
              <a:latin typeface="+mj-lt"/>
              <a:ea typeface="+mj-ea"/>
              <a:cs typeface="+mj-cs"/>
            </a:endParaRPr>
          </a:p>
        </p:txBody>
      </p:sp>
      <p:pic>
        <p:nvPicPr>
          <p:cNvPr id="8" name="Resim 7" descr="kirli, çimento, beton, taş içeren bir resim&#10;&#10;Açıklama otomatik olarak oluşturuldu">
            <a:extLst>
              <a:ext uri="{FF2B5EF4-FFF2-40B4-BE49-F238E27FC236}">
                <a16:creationId xmlns:a16="http://schemas.microsoft.com/office/drawing/2014/main" id="{CF5465D5-F10B-CF21-BA6B-872982DCD90E}"/>
              </a:ext>
            </a:extLst>
          </p:cNvPr>
          <p:cNvPicPr>
            <a:picLocks noChangeAspect="1"/>
          </p:cNvPicPr>
          <p:nvPr/>
        </p:nvPicPr>
        <p:blipFill rotWithShape="1">
          <a:blip r:embed="rId2"/>
          <a:srcRect l="11191" r="21918"/>
          <a:stretch/>
        </p:blipFill>
        <p:spPr>
          <a:xfrm>
            <a:off x="20" y="10"/>
            <a:ext cx="6116549" cy="685799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6" name="Metin kutusu 5">
            <a:extLst>
              <a:ext uri="{FF2B5EF4-FFF2-40B4-BE49-F238E27FC236}">
                <a16:creationId xmlns:a16="http://schemas.microsoft.com/office/drawing/2014/main" id="{940839AF-441F-C09C-0B7E-4076CF45432E}"/>
              </a:ext>
            </a:extLst>
          </p:cNvPr>
          <p:cNvSpPr txBox="1"/>
          <p:nvPr/>
        </p:nvSpPr>
        <p:spPr>
          <a:xfrm>
            <a:off x="6376903" y="1485901"/>
            <a:ext cx="5551715" cy="5053888"/>
          </a:xfrm>
          <a:prstGeom prst="rect">
            <a:avLst/>
          </a:prstGeom>
        </p:spPr>
        <p:txBody>
          <a:bodyPr vert="horz" lIns="91440" tIns="45720" rIns="91440" bIns="45720" rtlCol="0">
            <a:noAutofit/>
          </a:bodyPr>
          <a:lstStyle/>
          <a:p>
            <a:pPr marL="57150" indent="-285750">
              <a:lnSpc>
                <a:spcPct val="90000"/>
              </a:lnSpc>
              <a:spcAft>
                <a:spcPts val="667"/>
              </a:spcAft>
              <a:buFont typeface="Wingdings" panose="05000000000000000000" pitchFamily="2" charset="2"/>
              <a:buChar char="v"/>
            </a:pPr>
            <a:r>
              <a:rPr lang="en-US" b="1" dirty="0" err="1"/>
              <a:t>Kritik</a:t>
            </a:r>
            <a:r>
              <a:rPr lang="en-US" b="1" dirty="0"/>
              <a:t> </a:t>
            </a:r>
            <a:r>
              <a:rPr lang="en-US" b="1" dirty="0" err="1"/>
              <a:t>ekipmanların</a:t>
            </a:r>
            <a:r>
              <a:rPr lang="en-US" b="1" dirty="0"/>
              <a:t> </a:t>
            </a:r>
            <a:r>
              <a:rPr lang="en-US" b="1" dirty="0" err="1"/>
              <a:t>sağlığı</a:t>
            </a:r>
            <a:r>
              <a:rPr lang="en-US" b="1" dirty="0"/>
              <a:t> </a:t>
            </a:r>
            <a:r>
              <a:rPr lang="en-US" b="1" dirty="0" err="1"/>
              <a:t>için</a:t>
            </a:r>
            <a:r>
              <a:rPr lang="en-US" b="1" dirty="0"/>
              <a:t> </a:t>
            </a:r>
            <a:r>
              <a:rPr lang="en-US" b="1" dirty="0" err="1"/>
              <a:t>belirlenen</a:t>
            </a:r>
            <a:r>
              <a:rPr lang="en-US" b="1" dirty="0"/>
              <a:t> </a:t>
            </a:r>
            <a:r>
              <a:rPr lang="en-US" b="1" dirty="0" err="1"/>
              <a:t>ölçüm</a:t>
            </a:r>
            <a:r>
              <a:rPr lang="en-US" b="1" dirty="0"/>
              <a:t> </a:t>
            </a:r>
            <a:r>
              <a:rPr lang="en-US" b="1" dirty="0" err="1"/>
              <a:t>periyodu</a:t>
            </a:r>
            <a:r>
              <a:rPr lang="en-US" b="1" dirty="0"/>
              <a:t> </a:t>
            </a:r>
            <a:r>
              <a:rPr lang="en-US" b="1" dirty="0" err="1"/>
              <a:t>yetersiz</a:t>
            </a:r>
            <a:r>
              <a:rPr lang="en-US" b="1" dirty="0"/>
              <a:t> </a:t>
            </a:r>
            <a:r>
              <a:rPr lang="en-US" b="1" dirty="0" err="1"/>
              <a:t>kalabilir</a:t>
            </a:r>
            <a:r>
              <a:rPr lang="en-US" b="1" dirty="0"/>
              <a:t>. </a:t>
            </a:r>
          </a:p>
          <a:p>
            <a:pPr marL="57150" indent="-285750">
              <a:lnSpc>
                <a:spcPct val="90000"/>
              </a:lnSpc>
              <a:spcAft>
                <a:spcPts val="667"/>
              </a:spcAft>
              <a:buFont typeface="Wingdings" panose="05000000000000000000" pitchFamily="2" charset="2"/>
              <a:buChar char="v"/>
            </a:pPr>
            <a:endParaRPr lang="en-US" b="1" dirty="0"/>
          </a:p>
          <a:p>
            <a:pPr marL="57150" indent="-285750">
              <a:lnSpc>
                <a:spcPct val="90000"/>
              </a:lnSpc>
              <a:spcAft>
                <a:spcPts val="667"/>
              </a:spcAft>
              <a:buFont typeface="Wingdings" panose="05000000000000000000" pitchFamily="2" charset="2"/>
              <a:buChar char="v"/>
            </a:pPr>
            <a:r>
              <a:rPr lang="en-US" b="1" dirty="0" err="1"/>
              <a:t>Verileri</a:t>
            </a:r>
            <a:r>
              <a:rPr lang="en-US" b="1" dirty="0"/>
              <a:t> </a:t>
            </a:r>
            <a:r>
              <a:rPr lang="en-US" b="1" dirty="0" err="1"/>
              <a:t>uzun</a:t>
            </a:r>
            <a:r>
              <a:rPr lang="en-US" b="1" dirty="0"/>
              <a:t> </a:t>
            </a:r>
            <a:r>
              <a:rPr lang="en-US" b="1" dirty="0" err="1"/>
              <a:t>periyotlarla</a:t>
            </a:r>
            <a:r>
              <a:rPr lang="en-US" b="1" dirty="0"/>
              <a:t> </a:t>
            </a:r>
            <a:r>
              <a:rPr lang="en-US" b="1" dirty="0" err="1"/>
              <a:t>toplamak</a:t>
            </a:r>
            <a:r>
              <a:rPr lang="en-US" b="1" dirty="0"/>
              <a:t> </a:t>
            </a:r>
            <a:r>
              <a:rPr lang="en-US" b="1" dirty="0" err="1"/>
              <a:t>özellikle</a:t>
            </a:r>
            <a:r>
              <a:rPr lang="en-US" b="1" dirty="0"/>
              <a:t> </a:t>
            </a:r>
            <a:r>
              <a:rPr lang="en-US" b="1" dirty="0" err="1"/>
              <a:t>kritik</a:t>
            </a:r>
            <a:r>
              <a:rPr lang="en-US" b="1" dirty="0"/>
              <a:t> </a:t>
            </a:r>
            <a:r>
              <a:rPr lang="en-US" b="1" dirty="0" err="1"/>
              <a:t>ekipmanlar</a:t>
            </a:r>
            <a:r>
              <a:rPr lang="en-US" b="1" dirty="0"/>
              <a:t> </a:t>
            </a:r>
            <a:r>
              <a:rPr lang="en-US" b="1" dirty="0" err="1"/>
              <a:t>için</a:t>
            </a:r>
            <a:r>
              <a:rPr lang="en-US" b="1" dirty="0"/>
              <a:t> </a:t>
            </a:r>
            <a:r>
              <a:rPr lang="en-US" b="1" dirty="0" err="1"/>
              <a:t>yeterli</a:t>
            </a:r>
            <a:r>
              <a:rPr lang="en-US" b="1" dirty="0"/>
              <a:t> </a:t>
            </a:r>
            <a:r>
              <a:rPr lang="en-US" b="1" dirty="0" err="1"/>
              <a:t>olmayabilir</a:t>
            </a:r>
            <a:r>
              <a:rPr lang="en-US" b="1" dirty="0"/>
              <a:t>. </a:t>
            </a:r>
          </a:p>
          <a:p>
            <a:pPr marL="57150" indent="-285750">
              <a:lnSpc>
                <a:spcPct val="90000"/>
              </a:lnSpc>
              <a:spcAft>
                <a:spcPts val="667"/>
              </a:spcAft>
              <a:buFont typeface="Wingdings" panose="05000000000000000000" pitchFamily="2" charset="2"/>
              <a:buChar char="v"/>
            </a:pPr>
            <a:endParaRPr lang="en-US" b="1" dirty="0"/>
          </a:p>
          <a:p>
            <a:pPr marL="57150" indent="-285750">
              <a:lnSpc>
                <a:spcPct val="90000"/>
              </a:lnSpc>
              <a:spcAft>
                <a:spcPts val="667"/>
              </a:spcAft>
              <a:buFont typeface="Wingdings" panose="05000000000000000000" pitchFamily="2" charset="2"/>
              <a:buChar char="v"/>
            </a:pPr>
            <a:r>
              <a:rPr lang="en-US" b="1" dirty="0" err="1"/>
              <a:t>Çünkü</a:t>
            </a:r>
            <a:r>
              <a:rPr lang="en-US" b="1" dirty="0"/>
              <a:t> </a:t>
            </a:r>
            <a:r>
              <a:rPr lang="en-US" b="1" dirty="0" err="1"/>
              <a:t>bazı</a:t>
            </a:r>
            <a:r>
              <a:rPr lang="en-US" b="1" dirty="0"/>
              <a:t> </a:t>
            </a:r>
            <a:r>
              <a:rPr lang="en-US" b="1" dirty="0" err="1"/>
              <a:t>arızalar</a:t>
            </a:r>
            <a:r>
              <a:rPr lang="en-US" b="1" dirty="0"/>
              <a:t> </a:t>
            </a:r>
            <a:r>
              <a:rPr lang="en-US" b="1" dirty="0" err="1"/>
              <a:t>çok</a:t>
            </a:r>
            <a:r>
              <a:rPr lang="en-US" b="1" dirty="0"/>
              <a:t> </a:t>
            </a:r>
            <a:r>
              <a:rPr lang="en-US" b="1" dirty="0" err="1"/>
              <a:t>hızlı</a:t>
            </a:r>
            <a:r>
              <a:rPr lang="en-US" b="1" dirty="0"/>
              <a:t> </a:t>
            </a:r>
            <a:r>
              <a:rPr lang="en-US" b="1" dirty="0" err="1"/>
              <a:t>gelişebilir</a:t>
            </a:r>
            <a:r>
              <a:rPr lang="en-US" b="1" dirty="0"/>
              <a:t> </a:t>
            </a:r>
            <a:r>
              <a:rPr lang="en-US" b="1" dirty="0" err="1"/>
              <a:t>ve</a:t>
            </a:r>
            <a:r>
              <a:rPr lang="en-US" b="1" dirty="0"/>
              <a:t> </a:t>
            </a:r>
            <a:r>
              <a:rPr lang="en-US" b="1" dirty="0" err="1"/>
              <a:t>çok</a:t>
            </a:r>
            <a:r>
              <a:rPr lang="en-US" b="1" dirty="0"/>
              <a:t> </a:t>
            </a:r>
            <a:r>
              <a:rPr lang="en-US" b="1" dirty="0" err="1"/>
              <a:t>hızlı</a:t>
            </a:r>
            <a:r>
              <a:rPr lang="en-US" b="1" dirty="0"/>
              <a:t> </a:t>
            </a:r>
            <a:r>
              <a:rPr lang="en-US" b="1" dirty="0" err="1"/>
              <a:t>şekilde</a:t>
            </a:r>
            <a:r>
              <a:rPr lang="en-US" b="1" dirty="0"/>
              <a:t> </a:t>
            </a:r>
            <a:r>
              <a:rPr lang="en-US" b="1" dirty="0" err="1"/>
              <a:t>ekipmanınızı</a:t>
            </a:r>
            <a:r>
              <a:rPr lang="en-US" b="1" dirty="0"/>
              <a:t> </a:t>
            </a:r>
            <a:r>
              <a:rPr lang="en-US" b="1" dirty="0" err="1"/>
              <a:t>durduracaktır</a:t>
            </a:r>
            <a:r>
              <a:rPr lang="en-US" b="1" dirty="0"/>
              <a:t>. </a:t>
            </a:r>
          </a:p>
          <a:p>
            <a:pPr marL="57150" indent="-285750">
              <a:lnSpc>
                <a:spcPct val="90000"/>
              </a:lnSpc>
              <a:spcAft>
                <a:spcPts val="667"/>
              </a:spcAft>
              <a:buFont typeface="Wingdings" panose="05000000000000000000" pitchFamily="2" charset="2"/>
              <a:buChar char="v"/>
            </a:pPr>
            <a:endParaRPr lang="en-US" b="1" dirty="0"/>
          </a:p>
          <a:p>
            <a:pPr marL="57150" indent="-285750">
              <a:lnSpc>
                <a:spcPct val="90000"/>
              </a:lnSpc>
              <a:spcAft>
                <a:spcPts val="667"/>
              </a:spcAft>
              <a:buFont typeface="Wingdings" panose="05000000000000000000" pitchFamily="2" charset="2"/>
              <a:buChar char="v"/>
            </a:pPr>
            <a:r>
              <a:rPr lang="en-US" b="1" dirty="0"/>
              <a:t>Bu </a:t>
            </a:r>
            <a:r>
              <a:rPr lang="en-US" b="1" dirty="0" err="1"/>
              <a:t>arızaların</a:t>
            </a:r>
            <a:r>
              <a:rPr lang="tr-TR" b="1" dirty="0"/>
              <a:t> duruşu sebep olmadan yakalanması,</a:t>
            </a:r>
            <a:r>
              <a:rPr lang="en-US" b="1" dirty="0"/>
              <a:t> </a:t>
            </a:r>
            <a:r>
              <a:rPr lang="en-US" b="1" dirty="0" err="1"/>
              <a:t>daha</a:t>
            </a:r>
            <a:r>
              <a:rPr lang="en-US" b="1" dirty="0"/>
              <a:t> </a:t>
            </a:r>
            <a:r>
              <a:rPr lang="en-US" b="1" dirty="0" err="1"/>
              <a:t>sonra</a:t>
            </a:r>
            <a:r>
              <a:rPr lang="en-US" b="1" dirty="0"/>
              <a:t> </a:t>
            </a:r>
            <a:r>
              <a:rPr lang="en-US" b="1" dirty="0" err="1"/>
              <a:t>analizlerinin</a:t>
            </a:r>
            <a:r>
              <a:rPr lang="en-US" b="1" dirty="0"/>
              <a:t> </a:t>
            </a:r>
            <a:r>
              <a:rPr lang="en-US" b="1" dirty="0" err="1"/>
              <a:t>yapılabilmesi</a:t>
            </a:r>
            <a:r>
              <a:rPr lang="en-US" b="1" dirty="0"/>
              <a:t> </a:t>
            </a:r>
            <a:r>
              <a:rPr lang="en-US" b="1" dirty="0" err="1"/>
              <a:t>ve</a:t>
            </a:r>
            <a:r>
              <a:rPr lang="en-US" b="1" dirty="0"/>
              <a:t> </a:t>
            </a:r>
            <a:r>
              <a:rPr lang="en-US" b="1" dirty="0" err="1"/>
              <a:t>kök</a:t>
            </a:r>
            <a:r>
              <a:rPr lang="en-US" b="1" dirty="0"/>
              <a:t> </a:t>
            </a:r>
            <a:r>
              <a:rPr lang="en-US" b="1" dirty="0" err="1"/>
              <a:t>nedenlerinin</a:t>
            </a:r>
            <a:r>
              <a:rPr lang="en-US" b="1" dirty="0"/>
              <a:t> </a:t>
            </a:r>
            <a:r>
              <a:rPr lang="en-US" b="1" dirty="0" err="1"/>
              <a:t>tespiti</a:t>
            </a:r>
            <a:r>
              <a:rPr lang="en-US" b="1" dirty="0"/>
              <a:t> </a:t>
            </a:r>
            <a:r>
              <a:rPr lang="en-US" b="1" dirty="0" err="1"/>
              <a:t>için</a:t>
            </a:r>
            <a:r>
              <a:rPr lang="en-US" b="1" dirty="0"/>
              <a:t> </a:t>
            </a:r>
            <a:r>
              <a:rPr lang="en-US" b="1" dirty="0" err="1"/>
              <a:t>verilerin</a:t>
            </a:r>
            <a:r>
              <a:rPr lang="en-US" b="1" dirty="0"/>
              <a:t> </a:t>
            </a:r>
            <a:r>
              <a:rPr lang="en-US" b="1" dirty="0" err="1"/>
              <a:t>birkaç</a:t>
            </a:r>
            <a:r>
              <a:rPr lang="en-US" b="1" dirty="0"/>
              <a:t> </a:t>
            </a:r>
            <a:r>
              <a:rPr lang="en-US" b="1" dirty="0" err="1"/>
              <a:t>dakikada</a:t>
            </a:r>
            <a:r>
              <a:rPr lang="en-US" b="1" dirty="0"/>
              <a:t> </a:t>
            </a:r>
            <a:r>
              <a:rPr lang="en-US" b="1" dirty="0" err="1"/>
              <a:t>bir</a:t>
            </a:r>
            <a:r>
              <a:rPr lang="en-US" b="1" dirty="0"/>
              <a:t> </a:t>
            </a:r>
            <a:r>
              <a:rPr lang="en-US" b="1" dirty="0" err="1"/>
              <a:t>veya</a:t>
            </a:r>
            <a:r>
              <a:rPr lang="en-US" b="1" dirty="0"/>
              <a:t> </a:t>
            </a:r>
            <a:r>
              <a:rPr lang="en-US" b="1" dirty="0" err="1"/>
              <a:t>daha</a:t>
            </a:r>
            <a:r>
              <a:rPr lang="en-US" b="1" dirty="0"/>
              <a:t> </a:t>
            </a:r>
            <a:r>
              <a:rPr lang="en-US" b="1" dirty="0" err="1"/>
              <a:t>sık</a:t>
            </a:r>
            <a:r>
              <a:rPr lang="en-US" b="1" dirty="0"/>
              <a:t> </a:t>
            </a:r>
            <a:r>
              <a:rPr lang="en-US" b="1" dirty="0" err="1"/>
              <a:t>toplanması</a:t>
            </a:r>
            <a:r>
              <a:rPr lang="en-US" b="1" dirty="0"/>
              <a:t> </a:t>
            </a:r>
            <a:r>
              <a:rPr lang="en-US" b="1" dirty="0" err="1"/>
              <a:t>gerekmektedir</a:t>
            </a:r>
            <a:r>
              <a:rPr lang="en-US" b="1" dirty="0"/>
              <a:t>. </a:t>
            </a:r>
          </a:p>
          <a:p>
            <a:pPr marL="57150" indent="-285750">
              <a:lnSpc>
                <a:spcPct val="90000"/>
              </a:lnSpc>
              <a:spcAft>
                <a:spcPts val="667"/>
              </a:spcAft>
              <a:buFont typeface="Wingdings" panose="05000000000000000000" pitchFamily="2" charset="2"/>
              <a:buChar char="v"/>
            </a:pPr>
            <a:endParaRPr lang="en-US" b="1" dirty="0"/>
          </a:p>
          <a:p>
            <a:pPr marL="57150" indent="-285750">
              <a:lnSpc>
                <a:spcPct val="90000"/>
              </a:lnSpc>
              <a:spcAft>
                <a:spcPts val="667"/>
              </a:spcAft>
              <a:buFont typeface="Wingdings" panose="05000000000000000000" pitchFamily="2" charset="2"/>
              <a:buChar char="v"/>
            </a:pPr>
            <a:r>
              <a:rPr lang="en-US" b="1" dirty="0"/>
              <a:t>Bu </a:t>
            </a:r>
            <a:r>
              <a:rPr lang="en-US" b="1" dirty="0" err="1"/>
              <a:t>sebeple</a:t>
            </a:r>
            <a:r>
              <a:rPr lang="en-US" b="1" dirty="0"/>
              <a:t> </a:t>
            </a:r>
            <a:r>
              <a:rPr lang="en-US" b="1" dirty="0" err="1"/>
              <a:t>kritik</a:t>
            </a:r>
            <a:r>
              <a:rPr lang="en-US" b="1" dirty="0"/>
              <a:t> </a:t>
            </a:r>
            <a:r>
              <a:rPr lang="en-US" b="1" dirty="0" err="1"/>
              <a:t>ekipmanların</a:t>
            </a:r>
            <a:r>
              <a:rPr lang="en-US" b="1" dirty="0"/>
              <a:t> </a:t>
            </a:r>
            <a:r>
              <a:rPr lang="en-US" b="1" dirty="0" err="1"/>
              <a:t>sağlığının</a:t>
            </a:r>
            <a:r>
              <a:rPr lang="en-US" b="1" dirty="0"/>
              <a:t> </a:t>
            </a:r>
            <a:r>
              <a:rPr lang="tr-TR" b="1" dirty="0"/>
              <a:t>online makina sağlığı durum izleme sistemleri ile takibi çok önemlidir.</a:t>
            </a:r>
            <a:endParaRPr lang="en-US" b="1" dirty="0"/>
          </a:p>
        </p:txBody>
      </p:sp>
      <p:sp>
        <p:nvSpPr>
          <p:cNvPr id="5" name="Rectangle 1"/>
          <p:cNvSpPr>
            <a:spLocks noChangeArrowheads="1"/>
          </p:cNvSpPr>
          <p:nvPr/>
        </p:nvSpPr>
        <p:spPr bwMode="auto">
          <a:xfrm>
            <a:off x="2" y="88438"/>
            <a:ext cx="65" cy="20412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3225" rIns="0" bIns="-13225" numCol="1" anchor="ctr" anchorCtr="0" compatLnSpc="1">
            <a:prstTxWarp prst="textNoShape">
              <a:avLst/>
            </a:prstTxWarp>
            <a:spAutoFit/>
          </a:bodyPr>
          <a:lstStyle/>
          <a:p>
            <a:pPr defTabSz="761940" eaLnBrk="0" fontAlgn="base" hangingPunct="0">
              <a:spcBef>
                <a:spcPct val="0"/>
              </a:spcBef>
              <a:spcAft>
                <a:spcPct val="0"/>
              </a:spcAft>
            </a:pPr>
            <a:endParaRPr lang="tr-TR" altLang="tr-TR" sz="1500" dirty="0">
              <a:latin typeface="Arial" panose="020B0604020202020204" pitchFamily="34" charset="0"/>
            </a:endParaRPr>
          </a:p>
        </p:txBody>
      </p:sp>
    </p:spTree>
    <p:extLst>
      <p:ext uri="{BB962C8B-B14F-4D97-AF65-F5344CB8AC3E}">
        <p14:creationId xmlns:p14="http://schemas.microsoft.com/office/powerpoint/2010/main" val="116246798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467F378D-A000-47AE-83B2-D9954D8C94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48E26863-5660-4928-984A-CA2CFC8F6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49647" y="746626"/>
            <a:ext cx="3508037" cy="3365476"/>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FFFFF"/>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Rectangle 6">
            <a:extLst>
              <a:ext uri="{FF2B5EF4-FFF2-40B4-BE49-F238E27FC236}">
                <a16:creationId xmlns:a16="http://schemas.microsoft.com/office/drawing/2014/main" id="{D7538F2A-6532-4E38-8354-21841BB0B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10065" y="580586"/>
            <a:ext cx="1027015" cy="258262"/>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52F31131-35FC-4834-8E62-1D9DA3BE2A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74148" y="746626"/>
            <a:ext cx="3508037" cy="3365476"/>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FFFFF"/>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3" name="Freeform: Shape 32">
            <a:extLst>
              <a:ext uri="{FF2B5EF4-FFF2-40B4-BE49-F238E27FC236}">
                <a16:creationId xmlns:a16="http://schemas.microsoft.com/office/drawing/2014/main" id="{E7AD7F70-85A5-463C-9B1F-3182B60F86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570" y="746626"/>
            <a:ext cx="3511296" cy="3365476"/>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FFFFF"/>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5" name="Rectangle 6">
            <a:extLst>
              <a:ext uri="{FF2B5EF4-FFF2-40B4-BE49-F238E27FC236}">
                <a16:creationId xmlns:a16="http://schemas.microsoft.com/office/drawing/2014/main" id="{E5F002A4-1B0E-473E-AD7B-8346FB83B4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7422924" y="2300232"/>
            <a:ext cx="1027015" cy="258262"/>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37" name="Freeform: Shape 36">
            <a:extLst>
              <a:ext uri="{FF2B5EF4-FFF2-40B4-BE49-F238E27FC236}">
                <a16:creationId xmlns:a16="http://schemas.microsoft.com/office/drawing/2014/main" id="{13AF7514-9DD7-4ADB-84DF-5D8B61E735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19" y="4298302"/>
            <a:ext cx="12192000" cy="2559698"/>
          </a:xfrm>
          <a:custGeom>
            <a:avLst/>
            <a:gdLst>
              <a:gd name="connsiteX0" fmla="*/ 1462415 w 12192000"/>
              <a:gd name="connsiteY0" fmla="*/ 0 h 2685062"/>
              <a:gd name="connsiteX1" fmla="*/ 1494432 w 12192000"/>
              <a:gd name="connsiteY1" fmla="*/ 2457 h 2685062"/>
              <a:gd name="connsiteX2" fmla="*/ 1523667 w 12192000"/>
              <a:gd name="connsiteY2" fmla="*/ 11778 h 2685062"/>
              <a:gd name="connsiteX3" fmla="*/ 1523067 w 12192000"/>
              <a:gd name="connsiteY3" fmla="*/ 14207 h 2685062"/>
              <a:gd name="connsiteX4" fmla="*/ 1527695 w 12192000"/>
              <a:gd name="connsiteY4" fmla="*/ 15715 h 2685062"/>
              <a:gd name="connsiteX5" fmla="*/ 1532258 w 12192000"/>
              <a:gd name="connsiteY5" fmla="*/ 14518 h 2685062"/>
              <a:gd name="connsiteX6" fmla="*/ 1537796 w 12192000"/>
              <a:gd name="connsiteY6" fmla="*/ 16283 h 2685062"/>
              <a:gd name="connsiteX7" fmla="*/ 1553041 w 12192000"/>
              <a:gd name="connsiteY7" fmla="*/ 20452 h 2685062"/>
              <a:gd name="connsiteX8" fmla="*/ 1557495 w 12192000"/>
              <a:gd name="connsiteY8" fmla="*/ 25861 h 2685062"/>
              <a:gd name="connsiteX9" fmla="*/ 1617448 w 12192000"/>
              <a:gd name="connsiteY9" fmla="*/ 40977 h 2685062"/>
              <a:gd name="connsiteX10" fmla="*/ 1636697 w 12192000"/>
              <a:gd name="connsiteY10" fmla="*/ 39108 h 2685062"/>
              <a:gd name="connsiteX11" fmla="*/ 1657286 w 12192000"/>
              <a:gd name="connsiteY11" fmla="*/ 49000 h 2685062"/>
              <a:gd name="connsiteX12" fmla="*/ 1719191 w 12192000"/>
              <a:gd name="connsiteY12" fmla="*/ 56920 h 2685062"/>
              <a:gd name="connsiteX13" fmla="*/ 1787126 w 12192000"/>
              <a:gd name="connsiteY13" fmla="*/ 71960 h 2685062"/>
              <a:gd name="connsiteX14" fmla="*/ 1834555 w 12192000"/>
              <a:gd name="connsiteY14" fmla="*/ 86590 h 2685062"/>
              <a:gd name="connsiteX15" fmla="*/ 1966070 w 12192000"/>
              <a:gd name="connsiteY15" fmla="*/ 103987 h 2685062"/>
              <a:gd name="connsiteX16" fmla="*/ 2188582 w 12192000"/>
              <a:gd name="connsiteY16" fmla="*/ 124532 h 2685062"/>
              <a:gd name="connsiteX17" fmla="*/ 2234811 w 12192000"/>
              <a:gd name="connsiteY17" fmla="*/ 130739 h 2685062"/>
              <a:gd name="connsiteX18" fmla="*/ 2270005 w 12192000"/>
              <a:gd name="connsiteY18" fmla="*/ 143358 h 2685062"/>
              <a:gd name="connsiteX19" fmla="*/ 2274208 w 12192000"/>
              <a:gd name="connsiteY19" fmla="*/ 152634 h 2685062"/>
              <a:gd name="connsiteX20" fmla="*/ 2298905 w 12192000"/>
              <a:gd name="connsiteY20" fmla="*/ 157215 h 2685062"/>
              <a:gd name="connsiteX21" fmla="*/ 2304521 w 12192000"/>
              <a:gd name="connsiteY21" fmla="*/ 159957 h 2685062"/>
              <a:gd name="connsiteX22" fmla="*/ 2337696 w 12192000"/>
              <a:gd name="connsiteY22" fmla="*/ 174150 h 2685062"/>
              <a:gd name="connsiteX23" fmla="*/ 2432112 w 12192000"/>
              <a:gd name="connsiteY23" fmla="*/ 166646 h 2685062"/>
              <a:gd name="connsiteX24" fmla="*/ 2500149 w 12192000"/>
              <a:gd name="connsiteY24" fmla="*/ 168723 h 2685062"/>
              <a:gd name="connsiteX25" fmla="*/ 2504776 w 12192000"/>
              <a:gd name="connsiteY25" fmla="*/ 171455 h 2685062"/>
              <a:gd name="connsiteX26" fmla="*/ 2507358 w 12192000"/>
              <a:gd name="connsiteY26" fmla="*/ 177677 h 2685062"/>
              <a:gd name="connsiteX27" fmla="*/ 2518847 w 12192000"/>
              <a:gd name="connsiteY27" fmla="*/ 180936 h 2685062"/>
              <a:gd name="connsiteX28" fmla="*/ 2528864 w 12192000"/>
              <a:gd name="connsiteY28" fmla="*/ 188517 h 2685062"/>
              <a:gd name="connsiteX29" fmla="*/ 2938613 w 12192000"/>
              <a:gd name="connsiteY29" fmla="*/ 248764 h 2685062"/>
              <a:gd name="connsiteX30" fmla="*/ 3132513 w 12192000"/>
              <a:gd name="connsiteY30" fmla="*/ 229282 h 2685062"/>
              <a:gd name="connsiteX31" fmla="*/ 3208657 w 12192000"/>
              <a:gd name="connsiteY31" fmla="*/ 230814 h 2685062"/>
              <a:gd name="connsiteX32" fmla="*/ 3217904 w 12192000"/>
              <a:gd name="connsiteY32" fmla="*/ 237375 h 2685062"/>
              <a:gd name="connsiteX33" fmla="*/ 3330150 w 12192000"/>
              <a:gd name="connsiteY33" fmla="*/ 214762 h 2685062"/>
              <a:gd name="connsiteX34" fmla="*/ 3480527 w 12192000"/>
              <a:gd name="connsiteY34" fmla="*/ 231960 h 2685062"/>
              <a:gd name="connsiteX35" fmla="*/ 3591806 w 12192000"/>
              <a:gd name="connsiteY35" fmla="*/ 253003 h 2685062"/>
              <a:gd name="connsiteX36" fmla="*/ 3655143 w 12192000"/>
              <a:gd name="connsiteY36" fmla="*/ 261318 h 2685062"/>
              <a:gd name="connsiteX37" fmla="*/ 3700191 w 12192000"/>
              <a:gd name="connsiteY37" fmla="*/ 271235 h 2685062"/>
              <a:gd name="connsiteX38" fmla="*/ 3820459 w 12192000"/>
              <a:gd name="connsiteY38" fmla="*/ 275675 h 2685062"/>
              <a:gd name="connsiteX39" fmla="*/ 4022158 w 12192000"/>
              <a:gd name="connsiteY39" fmla="*/ 274341 h 2685062"/>
              <a:gd name="connsiteX40" fmla="*/ 4164508 w 12192000"/>
              <a:gd name="connsiteY40" fmla="*/ 309117 h 2685062"/>
              <a:gd name="connsiteX41" fmla="*/ 4246843 w 12192000"/>
              <a:gd name="connsiteY41" fmla="*/ 292417 h 2685062"/>
              <a:gd name="connsiteX42" fmla="*/ 4337133 w 12192000"/>
              <a:gd name="connsiteY42" fmla="*/ 304707 h 2685062"/>
              <a:gd name="connsiteX43" fmla="*/ 4696109 w 12192000"/>
              <a:gd name="connsiteY43" fmla="*/ 300060 h 2685062"/>
              <a:gd name="connsiteX44" fmla="*/ 4928090 w 12192000"/>
              <a:gd name="connsiteY44" fmla="*/ 291457 h 2685062"/>
              <a:gd name="connsiteX45" fmla="*/ 4960316 w 12192000"/>
              <a:gd name="connsiteY45" fmla="*/ 287841 h 2685062"/>
              <a:gd name="connsiteX46" fmla="*/ 4960840 w 12192000"/>
              <a:gd name="connsiteY46" fmla="*/ 285406 h 2685062"/>
              <a:gd name="connsiteX47" fmla="*/ 4965958 w 12192000"/>
              <a:gd name="connsiteY47" fmla="*/ 284802 h 2685062"/>
              <a:gd name="connsiteX48" fmla="*/ 4969785 w 12192000"/>
              <a:gd name="connsiteY48" fmla="*/ 286778 h 2685062"/>
              <a:gd name="connsiteX49" fmla="*/ 4975889 w 12192000"/>
              <a:gd name="connsiteY49" fmla="*/ 286093 h 2685062"/>
              <a:gd name="connsiteX50" fmla="*/ 4992382 w 12192000"/>
              <a:gd name="connsiteY50" fmla="*/ 284871 h 2685062"/>
              <a:gd name="connsiteX51" fmla="*/ 4999094 w 12192000"/>
              <a:gd name="connsiteY51" fmla="*/ 280499 h 2685062"/>
              <a:gd name="connsiteX52" fmla="*/ 5080965 w 12192000"/>
              <a:gd name="connsiteY52" fmla="*/ 282208 h 2685062"/>
              <a:gd name="connsiteX53" fmla="*/ 5105166 w 12192000"/>
              <a:gd name="connsiteY53" fmla="*/ 276473 h 2685062"/>
              <a:gd name="connsiteX54" fmla="*/ 5168054 w 12192000"/>
              <a:gd name="connsiteY54" fmla="*/ 280137 h 2685062"/>
              <a:gd name="connsiteX55" fmla="*/ 5239940 w 12192000"/>
              <a:gd name="connsiteY55" fmla="*/ 278079 h 2685062"/>
              <a:gd name="connsiteX56" fmla="*/ 5291998 w 12192000"/>
              <a:gd name="connsiteY56" fmla="*/ 272685 h 2685062"/>
              <a:gd name="connsiteX57" fmla="*/ 5425861 w 12192000"/>
              <a:gd name="connsiteY57" fmla="*/ 279926 h 2685062"/>
              <a:gd name="connsiteX58" fmla="*/ 5648321 w 12192000"/>
              <a:gd name="connsiteY58" fmla="*/ 300693 h 2685062"/>
              <a:gd name="connsiteX59" fmla="*/ 5695414 w 12192000"/>
              <a:gd name="connsiteY59" fmla="*/ 303150 h 2685062"/>
              <a:gd name="connsiteX60" fmla="*/ 5743064 w 12192000"/>
              <a:gd name="connsiteY60" fmla="*/ 289335 h 2685062"/>
              <a:gd name="connsiteX61" fmla="*/ 5768797 w 12192000"/>
              <a:gd name="connsiteY61" fmla="*/ 289436 h 2685062"/>
              <a:gd name="connsiteX62" fmla="*/ 5775419 w 12192000"/>
              <a:gd name="connsiteY62" fmla="*/ 287831 h 2685062"/>
              <a:gd name="connsiteX63" fmla="*/ 5813624 w 12192000"/>
              <a:gd name="connsiteY63" fmla="*/ 280263 h 2685062"/>
              <a:gd name="connsiteX64" fmla="*/ 5900676 w 12192000"/>
              <a:gd name="connsiteY64" fmla="*/ 304615 h 2685062"/>
              <a:gd name="connsiteX65" fmla="*/ 5966795 w 12192000"/>
              <a:gd name="connsiteY65" fmla="*/ 314993 h 2685062"/>
              <a:gd name="connsiteX66" fmla="*/ 5972463 w 12192000"/>
              <a:gd name="connsiteY66" fmla="*/ 313217 h 2685062"/>
              <a:gd name="connsiteX67" fmla="*/ 5977754 w 12192000"/>
              <a:gd name="connsiteY67" fmla="*/ 307726 h 2685062"/>
              <a:gd name="connsiteX68" fmla="*/ 5990232 w 12192000"/>
              <a:gd name="connsiteY68" fmla="*/ 306694 h 2685062"/>
              <a:gd name="connsiteX69" fmla="*/ 6003260 w 12192000"/>
              <a:gd name="connsiteY69" fmla="*/ 301250 h 2685062"/>
              <a:gd name="connsiteX70" fmla="*/ 6398655 w 12192000"/>
              <a:gd name="connsiteY70" fmla="*/ 340447 h 2685062"/>
              <a:gd name="connsiteX71" fmla="*/ 6477250 w 12192000"/>
              <a:gd name="connsiteY71" fmla="*/ 370643 h 2685062"/>
              <a:gd name="connsiteX72" fmla="*/ 6599996 w 12192000"/>
              <a:gd name="connsiteY72" fmla="*/ 371929 h 2685062"/>
              <a:gd name="connsiteX73" fmla="*/ 6673632 w 12192000"/>
              <a:gd name="connsiteY73" fmla="*/ 384303 h 2685062"/>
              <a:gd name="connsiteX74" fmla="*/ 6685461 w 12192000"/>
              <a:gd name="connsiteY74" fmla="*/ 379698 h 2685062"/>
              <a:gd name="connsiteX75" fmla="*/ 6782761 w 12192000"/>
              <a:gd name="connsiteY75" fmla="*/ 421766 h 2685062"/>
              <a:gd name="connsiteX76" fmla="*/ 6934599 w 12192000"/>
              <a:gd name="connsiteY76" fmla="*/ 432626 h 2685062"/>
              <a:gd name="connsiteX77" fmla="*/ 7050728 w 12192000"/>
              <a:gd name="connsiteY77" fmla="*/ 432695 h 2685062"/>
              <a:gd name="connsiteX78" fmla="*/ 7115167 w 12192000"/>
              <a:gd name="connsiteY78" fmla="*/ 436243 h 2685062"/>
              <a:gd name="connsiteX79" fmla="*/ 7162809 w 12192000"/>
              <a:gd name="connsiteY79" fmla="*/ 434931 h 2685062"/>
              <a:gd name="connsiteX80" fmla="*/ 7280034 w 12192000"/>
              <a:gd name="connsiteY80" fmla="*/ 452539 h 2685062"/>
              <a:gd name="connsiteX81" fmla="*/ 7472654 w 12192000"/>
              <a:gd name="connsiteY81" fmla="*/ 490482 h 2685062"/>
              <a:gd name="connsiteX82" fmla="*/ 7696080 w 12192000"/>
              <a:gd name="connsiteY82" fmla="*/ 514010 h 2685062"/>
              <a:gd name="connsiteX83" fmla="*/ 7788139 w 12192000"/>
              <a:gd name="connsiteY83" fmla="*/ 518649 h 2685062"/>
              <a:gd name="connsiteX84" fmla="*/ 8227756 w 12192000"/>
              <a:gd name="connsiteY84" fmla="*/ 558548 h 2685062"/>
              <a:gd name="connsiteX85" fmla="*/ 8328859 w 12192000"/>
              <a:gd name="connsiteY85" fmla="*/ 582867 h 2685062"/>
              <a:gd name="connsiteX86" fmla="*/ 8532898 w 12192000"/>
              <a:gd name="connsiteY86" fmla="*/ 668282 h 2685062"/>
              <a:gd name="connsiteX87" fmla="*/ 8792925 w 12192000"/>
              <a:gd name="connsiteY87" fmla="*/ 701900 h 2685062"/>
              <a:gd name="connsiteX88" fmla="*/ 8809491 w 12192000"/>
              <a:gd name="connsiteY88" fmla="*/ 717262 h 2685062"/>
              <a:gd name="connsiteX89" fmla="*/ 8814066 w 12192000"/>
              <a:gd name="connsiteY89" fmla="*/ 719410 h 2685062"/>
              <a:gd name="connsiteX90" fmla="*/ 8815751 w 12192000"/>
              <a:gd name="connsiteY90" fmla="*/ 718686 h 2685062"/>
              <a:gd name="connsiteX91" fmla="*/ 8840540 w 12192000"/>
              <a:gd name="connsiteY91" fmla="*/ 717083 h 2685062"/>
              <a:gd name="connsiteX92" fmla="*/ 8897062 w 12192000"/>
              <a:gd name="connsiteY92" fmla="*/ 697553 h 2685062"/>
              <a:gd name="connsiteX93" fmla="*/ 8965922 w 12192000"/>
              <a:gd name="connsiteY93" fmla="*/ 672885 h 2685062"/>
              <a:gd name="connsiteX94" fmla="*/ 9016694 w 12192000"/>
              <a:gd name="connsiteY94" fmla="*/ 669496 h 2685062"/>
              <a:gd name="connsiteX95" fmla="*/ 9139695 w 12192000"/>
              <a:gd name="connsiteY95" fmla="*/ 648174 h 2685062"/>
              <a:gd name="connsiteX96" fmla="*/ 9219129 w 12192000"/>
              <a:gd name="connsiteY96" fmla="*/ 639013 h 2685062"/>
              <a:gd name="connsiteX97" fmla="*/ 9221354 w 12192000"/>
              <a:gd name="connsiteY97" fmla="*/ 638501 h 2685062"/>
              <a:gd name="connsiteX98" fmla="*/ 9237592 w 12192000"/>
              <a:gd name="connsiteY98" fmla="*/ 642494 h 2685062"/>
              <a:gd name="connsiteX99" fmla="*/ 9236570 w 12192000"/>
              <a:gd name="connsiteY99" fmla="*/ 648762 h 2685062"/>
              <a:gd name="connsiteX100" fmla="*/ 9250521 w 12192000"/>
              <a:gd name="connsiteY100" fmla="*/ 654041 h 2685062"/>
              <a:gd name="connsiteX101" fmla="*/ 9279357 w 12192000"/>
              <a:gd name="connsiteY101" fmla="*/ 653083 h 2685062"/>
              <a:gd name="connsiteX102" fmla="*/ 9289731 w 12192000"/>
              <a:gd name="connsiteY102" fmla="*/ 656356 h 2685062"/>
              <a:gd name="connsiteX103" fmla="*/ 9293723 w 12192000"/>
              <a:gd name="connsiteY103" fmla="*/ 656237 h 2685062"/>
              <a:gd name="connsiteX104" fmla="*/ 9303097 w 12192000"/>
              <a:gd name="connsiteY104" fmla="*/ 656723 h 2685062"/>
              <a:gd name="connsiteX105" fmla="*/ 9302251 w 12192000"/>
              <a:gd name="connsiteY105" fmla="*/ 652725 h 2685062"/>
              <a:gd name="connsiteX106" fmla="*/ 9314122 w 12192000"/>
              <a:gd name="connsiteY106" fmla="*/ 645860 h 2685062"/>
              <a:gd name="connsiteX107" fmla="*/ 9367772 w 12192000"/>
              <a:gd name="connsiteY107" fmla="*/ 650683 h 2685062"/>
              <a:gd name="connsiteX108" fmla="*/ 9370291 w 12192000"/>
              <a:gd name="connsiteY108" fmla="*/ 655264 h 2685062"/>
              <a:gd name="connsiteX109" fmla="*/ 9377007 w 12192000"/>
              <a:gd name="connsiteY109" fmla="*/ 656308 h 2685062"/>
              <a:gd name="connsiteX110" fmla="*/ 9382497 w 12192000"/>
              <a:gd name="connsiteY110" fmla="*/ 652427 h 2685062"/>
              <a:gd name="connsiteX111" fmla="*/ 9474013 w 12192000"/>
              <a:gd name="connsiteY111" fmla="*/ 647005 h 2685062"/>
              <a:gd name="connsiteX112" fmla="*/ 9595899 w 12192000"/>
              <a:gd name="connsiteY112" fmla="*/ 646979 h 2685062"/>
              <a:gd name="connsiteX113" fmla="*/ 9681269 w 12192000"/>
              <a:gd name="connsiteY113" fmla="*/ 669984 h 2685062"/>
              <a:gd name="connsiteX114" fmla="*/ 9689635 w 12192000"/>
              <a:gd name="connsiteY114" fmla="*/ 666408 h 2685062"/>
              <a:gd name="connsiteX115" fmla="*/ 9750215 w 12192000"/>
              <a:gd name="connsiteY115" fmla="*/ 671056 h 2685062"/>
              <a:gd name="connsiteX116" fmla="*/ 9957974 w 12192000"/>
              <a:gd name="connsiteY116" fmla="*/ 715080 h 2685062"/>
              <a:gd name="connsiteX117" fmla="*/ 10076482 w 12192000"/>
              <a:gd name="connsiteY117" fmla="*/ 723397 h 2685062"/>
              <a:gd name="connsiteX118" fmla="*/ 10119263 w 12192000"/>
              <a:gd name="connsiteY118" fmla="*/ 721877 h 2685062"/>
              <a:gd name="connsiteX119" fmla="*/ 10190893 w 12192000"/>
              <a:gd name="connsiteY119" fmla="*/ 719606 h 2685062"/>
              <a:gd name="connsiteX120" fmla="*/ 10246203 w 12192000"/>
              <a:gd name="connsiteY120" fmla="*/ 706893 h 2685062"/>
              <a:gd name="connsiteX121" fmla="*/ 10305396 w 12192000"/>
              <a:gd name="connsiteY121" fmla="*/ 709359 h 2685062"/>
              <a:gd name="connsiteX122" fmla="*/ 10316856 w 12192000"/>
              <a:gd name="connsiteY122" fmla="*/ 724179 h 2685062"/>
              <a:gd name="connsiteX123" fmla="*/ 10380919 w 12192000"/>
              <a:gd name="connsiteY123" fmla="*/ 722193 h 2685062"/>
              <a:gd name="connsiteX124" fmla="*/ 10478351 w 12192000"/>
              <a:gd name="connsiteY124" fmla="*/ 717620 h 2685062"/>
              <a:gd name="connsiteX125" fmla="*/ 10533954 w 12192000"/>
              <a:gd name="connsiteY125" fmla="*/ 718660 h 2685062"/>
              <a:gd name="connsiteX126" fmla="*/ 10686474 w 12192000"/>
              <a:gd name="connsiteY126" fmla="*/ 717507 h 2685062"/>
              <a:gd name="connsiteX127" fmla="*/ 10839729 w 12192000"/>
              <a:gd name="connsiteY127" fmla="*/ 713306 h 2685062"/>
              <a:gd name="connsiteX128" fmla="*/ 10933271 w 12192000"/>
              <a:gd name="connsiteY128" fmla="*/ 693628 h 2685062"/>
              <a:gd name="connsiteX129" fmla="*/ 11058950 w 12192000"/>
              <a:gd name="connsiteY129" fmla="*/ 692031 h 2685062"/>
              <a:gd name="connsiteX130" fmla="*/ 11080388 w 12192000"/>
              <a:gd name="connsiteY130" fmla="*/ 689245 h 2685062"/>
              <a:gd name="connsiteX131" fmla="*/ 11108911 w 12192000"/>
              <a:gd name="connsiteY131" fmla="*/ 693363 h 2685062"/>
              <a:gd name="connsiteX132" fmla="*/ 11223119 w 12192000"/>
              <a:gd name="connsiteY132" fmla="*/ 710661 h 2685062"/>
              <a:gd name="connsiteX133" fmla="*/ 11311983 w 12192000"/>
              <a:gd name="connsiteY133" fmla="*/ 731410 h 2685062"/>
              <a:gd name="connsiteX134" fmla="*/ 11426940 w 12192000"/>
              <a:gd name="connsiteY134" fmla="*/ 727340 h 2685062"/>
              <a:gd name="connsiteX135" fmla="*/ 11495624 w 12192000"/>
              <a:gd name="connsiteY135" fmla="*/ 734858 h 2685062"/>
              <a:gd name="connsiteX136" fmla="*/ 11605975 w 12192000"/>
              <a:gd name="connsiteY136" fmla="*/ 762433 h 2685062"/>
              <a:gd name="connsiteX137" fmla="*/ 11756134 w 12192000"/>
              <a:gd name="connsiteY137" fmla="*/ 765012 h 2685062"/>
              <a:gd name="connsiteX138" fmla="*/ 11789788 w 12192000"/>
              <a:gd name="connsiteY138" fmla="*/ 745316 h 2685062"/>
              <a:gd name="connsiteX139" fmla="*/ 11832833 w 12192000"/>
              <a:gd name="connsiteY139" fmla="*/ 734720 h 2685062"/>
              <a:gd name="connsiteX140" fmla="*/ 11846338 w 12192000"/>
              <a:gd name="connsiteY140" fmla="*/ 765994 h 2685062"/>
              <a:gd name="connsiteX141" fmla="*/ 11972492 w 12192000"/>
              <a:gd name="connsiteY141" fmla="*/ 796180 h 2685062"/>
              <a:gd name="connsiteX142" fmla="*/ 12035979 w 12192000"/>
              <a:gd name="connsiteY142" fmla="*/ 807835 h 2685062"/>
              <a:gd name="connsiteX143" fmla="*/ 12135850 w 12192000"/>
              <a:gd name="connsiteY143" fmla="*/ 819056 h 2685062"/>
              <a:gd name="connsiteX144" fmla="*/ 12166092 w 12192000"/>
              <a:gd name="connsiteY144" fmla="*/ 823695 h 2685062"/>
              <a:gd name="connsiteX145" fmla="*/ 12190645 w 12192000"/>
              <a:gd name="connsiteY145" fmla="*/ 826863 h 2685062"/>
              <a:gd name="connsiteX146" fmla="*/ 12192000 w 12192000"/>
              <a:gd name="connsiteY146" fmla="*/ 880762 h 2685062"/>
              <a:gd name="connsiteX147" fmla="*/ 12192000 w 12192000"/>
              <a:gd name="connsiteY147" fmla="*/ 2685062 h 2685062"/>
              <a:gd name="connsiteX148" fmla="*/ 0 w 12192000"/>
              <a:gd name="connsiteY148" fmla="*/ 2685062 h 2685062"/>
              <a:gd name="connsiteX149" fmla="*/ 0 w 12192000"/>
              <a:gd name="connsiteY149" fmla="*/ 283917 h 2685062"/>
              <a:gd name="connsiteX150" fmla="*/ 44213 w 12192000"/>
              <a:gd name="connsiteY150" fmla="*/ 302297 h 2685062"/>
              <a:gd name="connsiteX151" fmla="*/ 172465 w 12192000"/>
              <a:gd name="connsiteY151" fmla="*/ 314866 h 2685062"/>
              <a:gd name="connsiteX152" fmla="*/ 223361 w 12192000"/>
              <a:gd name="connsiteY152" fmla="*/ 304828 h 2685062"/>
              <a:gd name="connsiteX153" fmla="*/ 320595 w 12192000"/>
              <a:gd name="connsiteY153" fmla="*/ 288341 h 2685062"/>
              <a:gd name="connsiteX154" fmla="*/ 401087 w 12192000"/>
              <a:gd name="connsiteY154" fmla="*/ 246745 h 2685062"/>
              <a:gd name="connsiteX155" fmla="*/ 495839 w 12192000"/>
              <a:gd name="connsiteY155" fmla="*/ 217305 h 2685062"/>
              <a:gd name="connsiteX156" fmla="*/ 507910 w 12192000"/>
              <a:gd name="connsiteY156" fmla="*/ 219773 h 2685062"/>
              <a:gd name="connsiteX157" fmla="*/ 561428 w 12192000"/>
              <a:gd name="connsiteY157" fmla="*/ 201460 h 2685062"/>
              <a:gd name="connsiteX158" fmla="*/ 712813 w 12192000"/>
              <a:gd name="connsiteY158" fmla="*/ 151411 h 2685062"/>
              <a:gd name="connsiteX159" fmla="*/ 819366 w 12192000"/>
              <a:gd name="connsiteY159" fmla="*/ 70479 h 2685062"/>
              <a:gd name="connsiteX160" fmla="*/ 862489 w 12192000"/>
              <a:gd name="connsiteY160" fmla="*/ 63238 h 2685062"/>
              <a:gd name="connsiteX161" fmla="*/ 934387 w 12192000"/>
              <a:gd name="connsiteY161" fmla="*/ 50788 h 2685062"/>
              <a:gd name="connsiteX162" fmla="*/ 948874 w 12192000"/>
              <a:gd name="connsiteY162" fmla="*/ 55208 h 2685062"/>
              <a:gd name="connsiteX163" fmla="*/ 955237 w 12192000"/>
              <a:gd name="connsiteY163" fmla="*/ 54040 h 2685062"/>
              <a:gd name="connsiteX164" fmla="*/ 955886 w 12192000"/>
              <a:gd name="connsiteY164" fmla="*/ 54325 h 2685062"/>
              <a:gd name="connsiteX165" fmla="*/ 957239 w 12192000"/>
              <a:gd name="connsiteY165" fmla="*/ 53673 h 2685062"/>
              <a:gd name="connsiteX166" fmla="*/ 971343 w 12192000"/>
              <a:gd name="connsiteY166" fmla="*/ 51086 h 2685062"/>
              <a:gd name="connsiteX167" fmla="*/ 1002063 w 12192000"/>
              <a:gd name="connsiteY167" fmla="*/ 54158 h 2685062"/>
              <a:gd name="connsiteX168" fmla="*/ 1020663 w 12192000"/>
              <a:gd name="connsiteY168" fmla="*/ 53408 h 2685062"/>
              <a:gd name="connsiteX169" fmla="*/ 1039181 w 12192000"/>
              <a:gd name="connsiteY169" fmla="*/ 40356 h 2685062"/>
              <a:gd name="connsiteX170" fmla="*/ 1051914 w 12192000"/>
              <a:gd name="connsiteY170" fmla="*/ 39166 h 2685062"/>
              <a:gd name="connsiteX171" fmla="*/ 1054501 w 12192000"/>
              <a:gd name="connsiteY171" fmla="*/ 37372 h 2685062"/>
              <a:gd name="connsiteX172" fmla="*/ 1061859 w 12192000"/>
              <a:gd name="connsiteY172" fmla="*/ 33902 h 2685062"/>
              <a:gd name="connsiteX173" fmla="*/ 1054558 w 12192000"/>
              <a:gd name="connsiteY173" fmla="*/ 30385 h 2685062"/>
              <a:gd name="connsiteX174" fmla="*/ 1140852 w 12192000"/>
              <a:gd name="connsiteY174" fmla="*/ 17327 h 2685062"/>
              <a:gd name="connsiteX175" fmla="*/ 1214144 w 12192000"/>
              <a:gd name="connsiteY175" fmla="*/ 6192 h 2685062"/>
              <a:gd name="connsiteX176" fmla="*/ 1338122 w 12192000"/>
              <a:gd name="connsiteY176" fmla="*/ 27996 h 2685062"/>
              <a:gd name="connsiteX177" fmla="*/ 1462415 w 12192000"/>
              <a:gd name="connsiteY177" fmla="*/ 0 h 268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2192000" h="2685062">
                <a:moveTo>
                  <a:pt x="1462415" y="0"/>
                </a:moveTo>
                <a:lnTo>
                  <a:pt x="1494432" y="2457"/>
                </a:lnTo>
                <a:lnTo>
                  <a:pt x="1523667" y="11778"/>
                </a:lnTo>
                <a:lnTo>
                  <a:pt x="1523067" y="14207"/>
                </a:lnTo>
                <a:cubicBezTo>
                  <a:pt x="1523507" y="15871"/>
                  <a:pt x="1525127" y="16145"/>
                  <a:pt x="1527695" y="15715"/>
                </a:cubicBezTo>
                <a:lnTo>
                  <a:pt x="1532258" y="14518"/>
                </a:lnTo>
                <a:lnTo>
                  <a:pt x="1537796" y="16283"/>
                </a:lnTo>
                <a:lnTo>
                  <a:pt x="1553041" y="20452"/>
                </a:lnTo>
                <a:lnTo>
                  <a:pt x="1557495" y="25861"/>
                </a:lnTo>
                <a:cubicBezTo>
                  <a:pt x="1571578" y="34900"/>
                  <a:pt x="1608020" y="28047"/>
                  <a:pt x="1617448" y="40977"/>
                </a:cubicBezTo>
                <a:lnTo>
                  <a:pt x="1636697" y="39108"/>
                </a:lnTo>
                <a:lnTo>
                  <a:pt x="1657286" y="49000"/>
                </a:lnTo>
                <a:cubicBezTo>
                  <a:pt x="1676389" y="57312"/>
                  <a:pt x="1696470" y="62807"/>
                  <a:pt x="1719191" y="56920"/>
                </a:cubicBezTo>
                <a:cubicBezTo>
                  <a:pt x="1709669" y="73491"/>
                  <a:pt x="1773685" y="56115"/>
                  <a:pt x="1787126" y="71960"/>
                </a:cubicBezTo>
                <a:cubicBezTo>
                  <a:pt x="1795166" y="84864"/>
                  <a:pt x="1816465" y="82599"/>
                  <a:pt x="1834555" y="86590"/>
                </a:cubicBezTo>
                <a:cubicBezTo>
                  <a:pt x="1850712" y="99365"/>
                  <a:pt x="1937782" y="107374"/>
                  <a:pt x="1966070" y="103987"/>
                </a:cubicBezTo>
                <a:cubicBezTo>
                  <a:pt x="2043209" y="86564"/>
                  <a:pt x="2126459" y="137078"/>
                  <a:pt x="2188582" y="124532"/>
                </a:cubicBezTo>
                <a:cubicBezTo>
                  <a:pt x="2206064" y="124932"/>
                  <a:pt x="2221206" y="127247"/>
                  <a:pt x="2234811" y="130739"/>
                </a:cubicBezTo>
                <a:lnTo>
                  <a:pt x="2270005" y="143358"/>
                </a:lnTo>
                <a:lnTo>
                  <a:pt x="2274208" y="152634"/>
                </a:lnTo>
                <a:lnTo>
                  <a:pt x="2298905" y="157215"/>
                </a:lnTo>
                <a:lnTo>
                  <a:pt x="2304521" y="159957"/>
                </a:lnTo>
                <a:cubicBezTo>
                  <a:pt x="2315230" y="165224"/>
                  <a:pt x="2326016" y="170200"/>
                  <a:pt x="2337696" y="174150"/>
                </a:cubicBezTo>
                <a:cubicBezTo>
                  <a:pt x="2354259" y="137711"/>
                  <a:pt x="2439767" y="201742"/>
                  <a:pt x="2432112" y="166646"/>
                </a:cubicBezTo>
                <a:cubicBezTo>
                  <a:pt x="2482400" y="178172"/>
                  <a:pt x="2480978" y="159994"/>
                  <a:pt x="2500149" y="168723"/>
                </a:cubicBezTo>
                <a:lnTo>
                  <a:pt x="2504776" y="171455"/>
                </a:lnTo>
                <a:lnTo>
                  <a:pt x="2507358" y="177677"/>
                </a:lnTo>
                <a:lnTo>
                  <a:pt x="2518847" y="180936"/>
                </a:lnTo>
                <a:lnTo>
                  <a:pt x="2528864" y="188517"/>
                </a:lnTo>
                <a:cubicBezTo>
                  <a:pt x="2656589" y="189245"/>
                  <a:pt x="2818894" y="267460"/>
                  <a:pt x="2938613" y="248764"/>
                </a:cubicBezTo>
                <a:lnTo>
                  <a:pt x="3132513" y="229282"/>
                </a:lnTo>
                <a:cubicBezTo>
                  <a:pt x="3153391" y="218737"/>
                  <a:pt x="3187482" y="219423"/>
                  <a:pt x="3208657" y="230814"/>
                </a:cubicBezTo>
                <a:cubicBezTo>
                  <a:pt x="3212298" y="232773"/>
                  <a:pt x="3215412" y="234983"/>
                  <a:pt x="3217904" y="237375"/>
                </a:cubicBezTo>
                <a:cubicBezTo>
                  <a:pt x="3279351" y="212726"/>
                  <a:pt x="3298012" y="233121"/>
                  <a:pt x="3330150" y="214762"/>
                </a:cubicBezTo>
                <a:cubicBezTo>
                  <a:pt x="3405531" y="217422"/>
                  <a:pt x="3451160" y="247861"/>
                  <a:pt x="3480527" y="231960"/>
                </a:cubicBezTo>
                <a:cubicBezTo>
                  <a:pt x="3516075" y="238991"/>
                  <a:pt x="3553819" y="269164"/>
                  <a:pt x="3591806" y="253003"/>
                </a:cubicBezTo>
                <a:cubicBezTo>
                  <a:pt x="3586673" y="270421"/>
                  <a:pt x="3640034" y="246868"/>
                  <a:pt x="3655143" y="261318"/>
                </a:cubicBezTo>
                <a:cubicBezTo>
                  <a:pt x="3664868" y="273371"/>
                  <a:pt x="3683329" y="269035"/>
                  <a:pt x="3700191" y="271235"/>
                </a:cubicBezTo>
                <a:cubicBezTo>
                  <a:pt x="3717097" y="282363"/>
                  <a:pt x="3796016" y="281812"/>
                  <a:pt x="3820459" y="275675"/>
                </a:cubicBezTo>
                <a:cubicBezTo>
                  <a:pt x="3885463" y="250791"/>
                  <a:pt x="3969506" y="292904"/>
                  <a:pt x="4022158" y="274341"/>
                </a:cubicBezTo>
                <a:cubicBezTo>
                  <a:pt x="4084571" y="269096"/>
                  <a:pt x="4119856" y="297968"/>
                  <a:pt x="4164508" y="309117"/>
                </a:cubicBezTo>
                <a:cubicBezTo>
                  <a:pt x="4171915" y="271244"/>
                  <a:pt x="4260667" y="326583"/>
                  <a:pt x="4246843" y="292417"/>
                </a:cubicBezTo>
                <a:cubicBezTo>
                  <a:pt x="4309458" y="301142"/>
                  <a:pt x="4279869" y="266331"/>
                  <a:pt x="4337133" y="304707"/>
                </a:cubicBezTo>
                <a:cubicBezTo>
                  <a:pt x="4450694" y="292933"/>
                  <a:pt x="4593547" y="330375"/>
                  <a:pt x="4696109" y="300060"/>
                </a:cubicBezTo>
                <a:lnTo>
                  <a:pt x="4928090" y="291457"/>
                </a:lnTo>
                <a:lnTo>
                  <a:pt x="4960316" y="287841"/>
                </a:lnTo>
                <a:cubicBezTo>
                  <a:pt x="4960491" y="287029"/>
                  <a:pt x="4960665" y="286217"/>
                  <a:pt x="4960840" y="285406"/>
                </a:cubicBezTo>
                <a:cubicBezTo>
                  <a:pt x="4962018" y="283892"/>
                  <a:pt x="4963691" y="283924"/>
                  <a:pt x="4965958" y="284802"/>
                </a:cubicBezTo>
                <a:lnTo>
                  <a:pt x="4969785" y="286778"/>
                </a:lnTo>
                <a:lnTo>
                  <a:pt x="4975889" y="286093"/>
                </a:lnTo>
                <a:lnTo>
                  <a:pt x="4992382" y="284871"/>
                </a:lnTo>
                <a:lnTo>
                  <a:pt x="4999094" y="280499"/>
                </a:lnTo>
                <a:lnTo>
                  <a:pt x="5080965" y="282208"/>
                </a:lnTo>
                <a:lnTo>
                  <a:pt x="5105166" y="276473"/>
                </a:lnTo>
                <a:cubicBezTo>
                  <a:pt x="5127226" y="271982"/>
                  <a:pt x="5148953" y="270367"/>
                  <a:pt x="5168054" y="280137"/>
                </a:cubicBezTo>
                <a:cubicBezTo>
                  <a:pt x="5166431" y="262533"/>
                  <a:pt x="5219894" y="290815"/>
                  <a:pt x="5239940" y="278079"/>
                </a:cubicBezTo>
                <a:cubicBezTo>
                  <a:pt x="5253484" y="267178"/>
                  <a:pt x="5272860" y="273220"/>
                  <a:pt x="5291998" y="272685"/>
                </a:cubicBezTo>
                <a:cubicBezTo>
                  <a:pt x="5313255" y="263383"/>
                  <a:pt x="5400292" y="271538"/>
                  <a:pt x="5425861" y="279926"/>
                </a:cubicBezTo>
                <a:cubicBezTo>
                  <a:pt x="5491875" y="310639"/>
                  <a:pt x="5594484" y="277380"/>
                  <a:pt x="5648321" y="300693"/>
                </a:cubicBezTo>
                <a:cubicBezTo>
                  <a:pt x="5665248" y="303486"/>
                  <a:pt x="5680800" y="304021"/>
                  <a:pt x="5695414" y="303150"/>
                </a:cubicBezTo>
                <a:lnTo>
                  <a:pt x="5743064" y="289335"/>
                </a:lnTo>
                <a:lnTo>
                  <a:pt x="5768797" y="289436"/>
                </a:lnTo>
                <a:lnTo>
                  <a:pt x="5775419" y="287831"/>
                </a:lnTo>
                <a:cubicBezTo>
                  <a:pt x="5788059" y="284732"/>
                  <a:pt x="5800646" y="281926"/>
                  <a:pt x="5813624" y="280263"/>
                </a:cubicBezTo>
                <a:cubicBezTo>
                  <a:pt x="5812999" y="318182"/>
                  <a:pt x="5923892" y="272386"/>
                  <a:pt x="5900676" y="304615"/>
                </a:cubicBezTo>
                <a:cubicBezTo>
                  <a:pt x="5954067" y="302717"/>
                  <a:pt x="5944477" y="319870"/>
                  <a:pt x="5966795" y="314993"/>
                </a:cubicBezTo>
                <a:lnTo>
                  <a:pt x="5972463" y="313217"/>
                </a:lnTo>
                <a:lnTo>
                  <a:pt x="5977754" y="307726"/>
                </a:lnTo>
                <a:lnTo>
                  <a:pt x="5990232" y="306694"/>
                </a:lnTo>
                <a:lnTo>
                  <a:pt x="6003260" y="301250"/>
                </a:lnTo>
                <a:cubicBezTo>
                  <a:pt x="6125949" y="323771"/>
                  <a:pt x="6292426" y="300774"/>
                  <a:pt x="6398655" y="340447"/>
                </a:cubicBezTo>
                <a:lnTo>
                  <a:pt x="6477250" y="370643"/>
                </a:lnTo>
                <a:cubicBezTo>
                  <a:pt x="6518147" y="382960"/>
                  <a:pt x="6560561" y="347277"/>
                  <a:pt x="6599996" y="371929"/>
                </a:cubicBezTo>
                <a:cubicBezTo>
                  <a:pt x="6615225" y="385828"/>
                  <a:pt x="6648193" y="391366"/>
                  <a:pt x="6673632" y="384303"/>
                </a:cubicBezTo>
                <a:cubicBezTo>
                  <a:pt x="6678009" y="383088"/>
                  <a:pt x="6681993" y="381536"/>
                  <a:pt x="6685461" y="379698"/>
                </a:cubicBezTo>
                <a:cubicBezTo>
                  <a:pt x="6733172" y="414481"/>
                  <a:pt x="6760278" y="398336"/>
                  <a:pt x="6782761" y="421766"/>
                </a:cubicBezTo>
                <a:cubicBezTo>
                  <a:pt x="6856177" y="432921"/>
                  <a:pt x="6913662" y="412056"/>
                  <a:pt x="6934599" y="432626"/>
                </a:cubicBezTo>
                <a:cubicBezTo>
                  <a:pt x="6971837" y="432351"/>
                  <a:pt x="7021650" y="410307"/>
                  <a:pt x="7050728" y="432695"/>
                </a:cubicBezTo>
                <a:cubicBezTo>
                  <a:pt x="7053692" y="415076"/>
                  <a:pt x="7094152" y="447339"/>
                  <a:pt x="7115167" y="436243"/>
                </a:cubicBezTo>
                <a:cubicBezTo>
                  <a:pt x="7129937" y="426464"/>
                  <a:pt x="7145660" y="433973"/>
                  <a:pt x="7162809" y="434931"/>
                </a:cubicBezTo>
                <a:cubicBezTo>
                  <a:pt x="7184039" y="427343"/>
                  <a:pt x="7259393" y="442217"/>
                  <a:pt x="7280034" y="452539"/>
                </a:cubicBezTo>
                <a:cubicBezTo>
                  <a:pt x="7331046" y="488194"/>
                  <a:pt x="7430616" y="463128"/>
                  <a:pt x="7472654" y="490482"/>
                </a:cubicBezTo>
                <a:cubicBezTo>
                  <a:pt x="7541994" y="500728"/>
                  <a:pt x="7643498" y="509315"/>
                  <a:pt x="7696080" y="514010"/>
                </a:cubicBezTo>
                <a:cubicBezTo>
                  <a:pt x="7760013" y="517032"/>
                  <a:pt x="7715914" y="545003"/>
                  <a:pt x="7788139" y="518649"/>
                </a:cubicBezTo>
                <a:cubicBezTo>
                  <a:pt x="7891601" y="550571"/>
                  <a:pt x="8143222" y="510864"/>
                  <a:pt x="8227756" y="558548"/>
                </a:cubicBezTo>
                <a:cubicBezTo>
                  <a:pt x="8317876" y="569251"/>
                  <a:pt x="8261697" y="569546"/>
                  <a:pt x="8328859" y="582867"/>
                </a:cubicBezTo>
                <a:cubicBezTo>
                  <a:pt x="8336976" y="627379"/>
                  <a:pt x="8495085" y="643261"/>
                  <a:pt x="8532898" y="668282"/>
                </a:cubicBezTo>
                <a:cubicBezTo>
                  <a:pt x="8626867" y="678146"/>
                  <a:pt x="8698118" y="715603"/>
                  <a:pt x="8792925" y="701900"/>
                </a:cubicBezTo>
                <a:cubicBezTo>
                  <a:pt x="8796856" y="707882"/>
                  <a:pt x="8802564" y="712918"/>
                  <a:pt x="8809491" y="717262"/>
                </a:cubicBezTo>
                <a:lnTo>
                  <a:pt x="8814066" y="719410"/>
                </a:lnTo>
                <a:lnTo>
                  <a:pt x="8815751" y="718686"/>
                </a:lnTo>
                <a:cubicBezTo>
                  <a:pt x="8822134" y="717141"/>
                  <a:pt x="8829906" y="716502"/>
                  <a:pt x="8840540" y="717083"/>
                </a:cubicBezTo>
                <a:cubicBezTo>
                  <a:pt x="8844566" y="676948"/>
                  <a:pt x="8862586" y="704813"/>
                  <a:pt x="8897062" y="697553"/>
                </a:cubicBezTo>
                <a:cubicBezTo>
                  <a:pt x="8926967" y="693826"/>
                  <a:pt x="8941387" y="680067"/>
                  <a:pt x="8965922" y="672885"/>
                </a:cubicBezTo>
                <a:cubicBezTo>
                  <a:pt x="8985861" y="668208"/>
                  <a:pt x="8990451" y="680326"/>
                  <a:pt x="9016694" y="669496"/>
                </a:cubicBezTo>
                <a:cubicBezTo>
                  <a:pt x="9064226" y="680468"/>
                  <a:pt x="9102961" y="653230"/>
                  <a:pt x="9139695" y="648174"/>
                </a:cubicBezTo>
                <a:cubicBezTo>
                  <a:pt x="9151373" y="649226"/>
                  <a:pt x="9186538" y="645057"/>
                  <a:pt x="9219129" y="639013"/>
                </a:cubicBezTo>
                <a:lnTo>
                  <a:pt x="9221354" y="638501"/>
                </a:lnTo>
                <a:lnTo>
                  <a:pt x="9237592" y="642494"/>
                </a:lnTo>
                <a:cubicBezTo>
                  <a:pt x="9241555" y="644212"/>
                  <a:pt x="9242210" y="646204"/>
                  <a:pt x="9236570" y="648762"/>
                </a:cubicBezTo>
                <a:cubicBezTo>
                  <a:pt x="9241114" y="652055"/>
                  <a:pt x="9245782" y="653517"/>
                  <a:pt x="9250521" y="654041"/>
                </a:cubicBezTo>
                <a:cubicBezTo>
                  <a:pt x="9259996" y="655089"/>
                  <a:pt x="9269753" y="652386"/>
                  <a:pt x="9279357" y="653083"/>
                </a:cubicBezTo>
                <a:lnTo>
                  <a:pt x="9289731" y="656356"/>
                </a:lnTo>
                <a:lnTo>
                  <a:pt x="9293723" y="656237"/>
                </a:lnTo>
                <a:lnTo>
                  <a:pt x="9303097" y="656723"/>
                </a:lnTo>
                <a:lnTo>
                  <a:pt x="9302251" y="652725"/>
                </a:lnTo>
                <a:cubicBezTo>
                  <a:pt x="9300561" y="648869"/>
                  <a:pt x="9299408" y="644676"/>
                  <a:pt x="9314122" y="645860"/>
                </a:cubicBezTo>
                <a:cubicBezTo>
                  <a:pt x="9344433" y="650204"/>
                  <a:pt x="9356229" y="634440"/>
                  <a:pt x="9367772" y="650683"/>
                </a:cubicBezTo>
                <a:lnTo>
                  <a:pt x="9370291" y="655264"/>
                </a:lnTo>
                <a:lnTo>
                  <a:pt x="9377007" y="656308"/>
                </a:lnTo>
                <a:cubicBezTo>
                  <a:pt x="9380660" y="656340"/>
                  <a:pt x="9382824" y="655350"/>
                  <a:pt x="9382497" y="652427"/>
                </a:cubicBezTo>
                <a:cubicBezTo>
                  <a:pt x="9410043" y="665739"/>
                  <a:pt x="9444726" y="648939"/>
                  <a:pt x="9474013" y="647005"/>
                </a:cubicBezTo>
                <a:cubicBezTo>
                  <a:pt x="9494765" y="659508"/>
                  <a:pt x="9535746" y="643122"/>
                  <a:pt x="9595899" y="646979"/>
                </a:cubicBezTo>
                <a:cubicBezTo>
                  <a:pt x="9618462" y="661284"/>
                  <a:pt x="9636478" y="649421"/>
                  <a:pt x="9681269" y="669984"/>
                </a:cubicBezTo>
                <a:cubicBezTo>
                  <a:pt x="9683619" y="668616"/>
                  <a:pt x="9686437" y="667412"/>
                  <a:pt x="9689635" y="666408"/>
                </a:cubicBezTo>
                <a:cubicBezTo>
                  <a:pt x="9708219" y="660578"/>
                  <a:pt x="9735343" y="662659"/>
                  <a:pt x="9750215" y="671056"/>
                </a:cubicBezTo>
                <a:cubicBezTo>
                  <a:pt x="9822560" y="699676"/>
                  <a:pt x="9892985" y="704863"/>
                  <a:pt x="9957974" y="715080"/>
                </a:cubicBezTo>
                <a:cubicBezTo>
                  <a:pt x="10031995" y="724171"/>
                  <a:pt x="9987651" y="694466"/>
                  <a:pt x="10076482" y="723397"/>
                </a:cubicBezTo>
                <a:cubicBezTo>
                  <a:pt x="10088264" y="715403"/>
                  <a:pt x="10100170" y="715974"/>
                  <a:pt x="10119263" y="721877"/>
                </a:cubicBezTo>
                <a:cubicBezTo>
                  <a:pt x="10155360" y="725633"/>
                  <a:pt x="10156886" y="703170"/>
                  <a:pt x="10190893" y="719606"/>
                </a:cubicBezTo>
                <a:cubicBezTo>
                  <a:pt x="10186651" y="707114"/>
                  <a:pt x="10260542" y="720706"/>
                  <a:pt x="10246203" y="706893"/>
                </a:cubicBezTo>
                <a:cubicBezTo>
                  <a:pt x="10271921" y="697978"/>
                  <a:pt x="10280122" y="716866"/>
                  <a:pt x="10305396" y="709359"/>
                </a:cubicBezTo>
                <a:cubicBezTo>
                  <a:pt x="10332266" y="709354"/>
                  <a:pt x="10287753" y="720864"/>
                  <a:pt x="10316856" y="724179"/>
                </a:cubicBezTo>
                <a:cubicBezTo>
                  <a:pt x="10352558" y="726042"/>
                  <a:pt x="10348261" y="747938"/>
                  <a:pt x="10380919" y="722193"/>
                </a:cubicBezTo>
                <a:cubicBezTo>
                  <a:pt x="10416787" y="731946"/>
                  <a:pt x="10426384" y="719959"/>
                  <a:pt x="10478351" y="717620"/>
                </a:cubicBezTo>
                <a:cubicBezTo>
                  <a:pt x="10498311" y="726260"/>
                  <a:pt x="10516018" y="724144"/>
                  <a:pt x="10533954" y="718660"/>
                </a:cubicBezTo>
                <a:cubicBezTo>
                  <a:pt x="10583102" y="724237"/>
                  <a:pt x="10630104" y="717410"/>
                  <a:pt x="10686474" y="717507"/>
                </a:cubicBezTo>
                <a:cubicBezTo>
                  <a:pt x="10745160" y="730015"/>
                  <a:pt x="10779502" y="713124"/>
                  <a:pt x="10839729" y="713306"/>
                </a:cubicBezTo>
                <a:cubicBezTo>
                  <a:pt x="10895292" y="735596"/>
                  <a:pt x="10883335" y="689293"/>
                  <a:pt x="10933271" y="693628"/>
                </a:cubicBezTo>
                <a:cubicBezTo>
                  <a:pt x="11011861" y="715600"/>
                  <a:pt x="10933941" y="678563"/>
                  <a:pt x="11058950" y="692031"/>
                </a:cubicBezTo>
                <a:cubicBezTo>
                  <a:pt x="11065574" y="695312"/>
                  <a:pt x="11081347" y="693264"/>
                  <a:pt x="11080388" y="689245"/>
                </a:cubicBezTo>
                <a:cubicBezTo>
                  <a:pt x="11088176" y="690921"/>
                  <a:pt x="11106032" y="699551"/>
                  <a:pt x="11108911" y="693363"/>
                </a:cubicBezTo>
                <a:cubicBezTo>
                  <a:pt x="11149149" y="694912"/>
                  <a:pt x="11188483" y="700869"/>
                  <a:pt x="11223119" y="710661"/>
                </a:cubicBezTo>
                <a:cubicBezTo>
                  <a:pt x="11302059" y="704266"/>
                  <a:pt x="11255617" y="731239"/>
                  <a:pt x="11311983" y="731410"/>
                </a:cubicBezTo>
                <a:cubicBezTo>
                  <a:pt x="11358665" y="721567"/>
                  <a:pt x="11373894" y="732638"/>
                  <a:pt x="11426940" y="727340"/>
                </a:cubicBezTo>
                <a:cubicBezTo>
                  <a:pt x="11441993" y="748767"/>
                  <a:pt x="11476074" y="727962"/>
                  <a:pt x="11495624" y="734858"/>
                </a:cubicBezTo>
                <a:cubicBezTo>
                  <a:pt x="11530841" y="712823"/>
                  <a:pt x="11572173" y="761025"/>
                  <a:pt x="11605975" y="762433"/>
                </a:cubicBezTo>
                <a:cubicBezTo>
                  <a:pt x="11663316" y="761143"/>
                  <a:pt x="11727635" y="739871"/>
                  <a:pt x="11756134" y="765012"/>
                </a:cubicBezTo>
                <a:cubicBezTo>
                  <a:pt x="11761348" y="755468"/>
                  <a:pt x="11757526" y="741943"/>
                  <a:pt x="11789788" y="745316"/>
                </a:cubicBezTo>
                <a:cubicBezTo>
                  <a:pt x="11803253" y="740995"/>
                  <a:pt x="11807074" y="726138"/>
                  <a:pt x="11832833" y="734720"/>
                </a:cubicBezTo>
                <a:cubicBezTo>
                  <a:pt x="11798846" y="746443"/>
                  <a:pt x="11852821" y="750721"/>
                  <a:pt x="11846338" y="765994"/>
                </a:cubicBezTo>
                <a:cubicBezTo>
                  <a:pt x="11885947" y="777555"/>
                  <a:pt x="11979991" y="768560"/>
                  <a:pt x="11972492" y="796180"/>
                </a:cubicBezTo>
                <a:cubicBezTo>
                  <a:pt x="11982931" y="813135"/>
                  <a:pt x="12037186" y="790090"/>
                  <a:pt x="12035979" y="807835"/>
                </a:cubicBezTo>
                <a:cubicBezTo>
                  <a:pt x="12059694" y="797410"/>
                  <a:pt x="12098516" y="817951"/>
                  <a:pt x="12135850" y="819056"/>
                </a:cubicBezTo>
                <a:cubicBezTo>
                  <a:pt x="12142309" y="827359"/>
                  <a:pt x="12150917" y="827343"/>
                  <a:pt x="12166092" y="823695"/>
                </a:cubicBezTo>
                <a:lnTo>
                  <a:pt x="12190645" y="826863"/>
                </a:lnTo>
                <a:lnTo>
                  <a:pt x="12192000" y="880762"/>
                </a:lnTo>
                <a:lnTo>
                  <a:pt x="12192000" y="2685062"/>
                </a:lnTo>
                <a:lnTo>
                  <a:pt x="0" y="2685062"/>
                </a:lnTo>
                <a:lnTo>
                  <a:pt x="0" y="283917"/>
                </a:lnTo>
                <a:lnTo>
                  <a:pt x="44213" y="302297"/>
                </a:lnTo>
                <a:cubicBezTo>
                  <a:pt x="57125" y="321111"/>
                  <a:pt x="151150" y="310991"/>
                  <a:pt x="172465" y="314866"/>
                </a:cubicBezTo>
                <a:cubicBezTo>
                  <a:pt x="201883" y="307918"/>
                  <a:pt x="192551" y="309357"/>
                  <a:pt x="223361" y="304828"/>
                </a:cubicBezTo>
                <a:cubicBezTo>
                  <a:pt x="235273" y="283233"/>
                  <a:pt x="290082" y="292239"/>
                  <a:pt x="320595" y="288341"/>
                </a:cubicBezTo>
                <a:cubicBezTo>
                  <a:pt x="326821" y="269140"/>
                  <a:pt x="347105" y="264031"/>
                  <a:pt x="401087" y="246745"/>
                </a:cubicBezTo>
                <a:cubicBezTo>
                  <a:pt x="407068" y="225028"/>
                  <a:pt x="475269" y="251137"/>
                  <a:pt x="495839" y="217305"/>
                </a:cubicBezTo>
                <a:cubicBezTo>
                  <a:pt x="499633" y="218429"/>
                  <a:pt x="503698" y="219260"/>
                  <a:pt x="507910" y="219773"/>
                </a:cubicBezTo>
                <a:cubicBezTo>
                  <a:pt x="532375" y="222751"/>
                  <a:pt x="556339" y="214552"/>
                  <a:pt x="561428" y="201460"/>
                </a:cubicBezTo>
                <a:cubicBezTo>
                  <a:pt x="599747" y="152259"/>
                  <a:pt x="661201" y="177254"/>
                  <a:pt x="712813" y="151411"/>
                </a:cubicBezTo>
                <a:cubicBezTo>
                  <a:pt x="774420" y="124993"/>
                  <a:pt x="765426" y="123535"/>
                  <a:pt x="819366" y="70479"/>
                </a:cubicBezTo>
                <a:cubicBezTo>
                  <a:pt x="839647" y="77460"/>
                  <a:pt x="850544" y="74267"/>
                  <a:pt x="862489" y="63238"/>
                </a:cubicBezTo>
                <a:cubicBezTo>
                  <a:pt x="893284" y="51157"/>
                  <a:pt x="919686" y="77447"/>
                  <a:pt x="934387" y="50788"/>
                </a:cubicBezTo>
                <a:cubicBezTo>
                  <a:pt x="936825" y="54711"/>
                  <a:pt x="942184" y="55671"/>
                  <a:pt x="948874" y="55208"/>
                </a:cubicBezTo>
                <a:lnTo>
                  <a:pt x="955237" y="54040"/>
                </a:lnTo>
                <a:lnTo>
                  <a:pt x="955886" y="54325"/>
                </a:lnTo>
                <a:lnTo>
                  <a:pt x="957239" y="53673"/>
                </a:lnTo>
                <a:lnTo>
                  <a:pt x="971343" y="51086"/>
                </a:lnTo>
                <a:cubicBezTo>
                  <a:pt x="986863" y="47540"/>
                  <a:pt x="1001346" y="44460"/>
                  <a:pt x="1002063" y="54158"/>
                </a:cubicBezTo>
                <a:cubicBezTo>
                  <a:pt x="1010763" y="55438"/>
                  <a:pt x="1016476" y="54893"/>
                  <a:pt x="1020663" y="53408"/>
                </a:cubicBezTo>
                <a:cubicBezTo>
                  <a:pt x="1029036" y="50440"/>
                  <a:pt x="1031306" y="43717"/>
                  <a:pt x="1039181" y="40356"/>
                </a:cubicBezTo>
                <a:lnTo>
                  <a:pt x="1051914" y="39166"/>
                </a:lnTo>
                <a:lnTo>
                  <a:pt x="1054501" y="37372"/>
                </a:lnTo>
                <a:lnTo>
                  <a:pt x="1061859" y="33902"/>
                </a:lnTo>
                <a:lnTo>
                  <a:pt x="1054558" y="30385"/>
                </a:lnTo>
                <a:cubicBezTo>
                  <a:pt x="1046905" y="27358"/>
                  <a:pt x="1128596" y="22367"/>
                  <a:pt x="1140852" y="17327"/>
                </a:cubicBezTo>
                <a:lnTo>
                  <a:pt x="1214144" y="6192"/>
                </a:lnTo>
                <a:lnTo>
                  <a:pt x="1338122" y="27996"/>
                </a:lnTo>
                <a:cubicBezTo>
                  <a:pt x="1367144" y="1801"/>
                  <a:pt x="1432673" y="14019"/>
                  <a:pt x="1462415" y="0"/>
                </a:cubicBezTo>
                <a:close/>
              </a:path>
            </a:pathLst>
          </a:cu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Metin kutusu 19">
            <a:extLst>
              <a:ext uri="{FF2B5EF4-FFF2-40B4-BE49-F238E27FC236}">
                <a16:creationId xmlns:a16="http://schemas.microsoft.com/office/drawing/2014/main" id="{CA91C5F0-3353-C0CC-3314-894E5BBC12DF}"/>
              </a:ext>
            </a:extLst>
          </p:cNvPr>
          <p:cNvSpPr txBox="1"/>
          <p:nvPr/>
        </p:nvSpPr>
        <p:spPr>
          <a:xfrm>
            <a:off x="749647" y="5137150"/>
            <a:ext cx="10784219" cy="1447168"/>
          </a:xfrm>
          <a:prstGeom prst="rect">
            <a:avLst/>
          </a:prstGeom>
        </p:spPr>
        <p:txBody>
          <a:bodyPr vert="horz" lIns="91440" tIns="45720" rIns="91440" bIns="45720" rtlCol="0" anchor="b">
            <a:noAutofit/>
          </a:bodyPr>
          <a:lstStyle/>
          <a:p>
            <a:pPr algn="just"/>
            <a:r>
              <a:rPr lang="tr-TR" b="1" u="sng" dirty="0">
                <a:solidFill>
                  <a:srgbClr val="C00000"/>
                </a:solidFill>
              </a:rPr>
              <a:t>Online Makine Sağlığı Durum İzleme Sistemleri; </a:t>
            </a:r>
            <a:r>
              <a:rPr lang="tr-TR" dirty="0"/>
              <a:t>makinelerden toplanan gerçek zamanlı verilerle, işleyişi sürekli kontrol eden ve problem henüz gerçekleşmeden uyarı oluşturan ve önlem alınmasını sağlayan, plansız duruşları azaltan, </a:t>
            </a:r>
            <a:r>
              <a:rPr lang="tr-TR" dirty="0">
                <a:cs typeface="Times New Roman" panose="02020603050405020304" pitchFamily="18" charset="0"/>
              </a:rPr>
              <a:t>i</a:t>
            </a:r>
            <a:r>
              <a:rPr lang="tr-TR" dirty="0">
                <a:effectLst/>
                <a:ea typeface="Calibri" panose="020F0502020204030204" pitchFamily="34" charset="0"/>
                <a:cs typeface="Times New Roman" panose="02020603050405020304" pitchFamily="18" charset="0"/>
              </a:rPr>
              <a:t>şletmeleri</a:t>
            </a:r>
            <a:r>
              <a:rPr lang="tr-TR" dirty="0">
                <a:ea typeface="Calibri" panose="020F0502020204030204" pitchFamily="34" charset="0"/>
                <a:cs typeface="Times New Roman" panose="02020603050405020304" pitchFamily="18" charset="0"/>
              </a:rPr>
              <a:t> </a:t>
            </a:r>
            <a:r>
              <a:rPr lang="tr-TR" b="1" dirty="0">
                <a:solidFill>
                  <a:srgbClr val="006EC0"/>
                </a:solidFill>
                <a:effectLst/>
                <a:ea typeface="Calibri" panose="020F0502020204030204" pitchFamily="34" charset="0"/>
                <a:cs typeface="Times New Roman" panose="02020603050405020304" pitchFamily="18" charset="0"/>
              </a:rPr>
              <a:t>Akıllı Fabrikalara Dijital Fabrikalara</a:t>
            </a:r>
            <a:r>
              <a:rPr lang="tr-TR" b="1" dirty="0">
                <a:solidFill>
                  <a:srgbClr val="006EC0"/>
                </a:solidFill>
                <a:ea typeface="Calibri" panose="020F0502020204030204" pitchFamily="34" charset="0"/>
                <a:cs typeface="Times New Roman" panose="02020603050405020304" pitchFamily="18" charset="0"/>
              </a:rPr>
              <a:t> </a:t>
            </a:r>
            <a:r>
              <a:rPr lang="tr-TR" dirty="0">
                <a:effectLst/>
                <a:ea typeface="Calibri" panose="020F0502020204030204" pitchFamily="34" charset="0"/>
                <a:cs typeface="Times New Roman" panose="02020603050405020304" pitchFamily="18" charset="0"/>
              </a:rPr>
              <a:t>dönüştüren bu sistemlerdir. Bu sistemler üretimi planlama, üretim performans takibi, bakımı planlama, duruş analizi ve kök neden analizi de yaparak işletmenin kayıplarını bulma ve yok etme imkânı sunar. </a:t>
            </a:r>
          </a:p>
        </p:txBody>
      </p:sp>
      <p:pic>
        <p:nvPicPr>
          <p:cNvPr id="4" name="Resim 3" descr="iç mekan, mavi içeren bir resim&#10;&#10;Açıklama otomatik olarak oluşturuldu">
            <a:extLst>
              <a:ext uri="{FF2B5EF4-FFF2-40B4-BE49-F238E27FC236}">
                <a16:creationId xmlns:a16="http://schemas.microsoft.com/office/drawing/2014/main" id="{D83415AC-C023-4E1A-1145-E46AC1349F0E}"/>
              </a:ext>
            </a:extLst>
          </p:cNvPr>
          <p:cNvPicPr>
            <a:picLocks noChangeAspect="1"/>
          </p:cNvPicPr>
          <p:nvPr/>
        </p:nvPicPr>
        <p:blipFill>
          <a:blip r:embed="rId2"/>
          <a:stretch>
            <a:fillRect/>
          </a:stretch>
        </p:blipFill>
        <p:spPr>
          <a:xfrm>
            <a:off x="4614474" y="1294093"/>
            <a:ext cx="3027384" cy="2270538"/>
          </a:xfrm>
          <a:prstGeom prst="rect">
            <a:avLst/>
          </a:prstGeom>
        </p:spPr>
      </p:pic>
      <p:pic>
        <p:nvPicPr>
          <p:cNvPr id="17" name="Resim 16" descr="metin, elektronik donanım içeren bir resim&#10;&#10;Açıklama otomatik olarak oluşturuldu">
            <a:extLst>
              <a:ext uri="{FF2B5EF4-FFF2-40B4-BE49-F238E27FC236}">
                <a16:creationId xmlns:a16="http://schemas.microsoft.com/office/drawing/2014/main" id="{6641AFE9-A7AC-6533-FBAF-5C7FF3FFEB38}"/>
              </a:ext>
            </a:extLst>
          </p:cNvPr>
          <p:cNvPicPr>
            <a:picLocks noChangeAspect="1"/>
          </p:cNvPicPr>
          <p:nvPr/>
        </p:nvPicPr>
        <p:blipFill>
          <a:blip r:embed="rId3"/>
          <a:stretch>
            <a:fillRect/>
          </a:stretch>
        </p:blipFill>
        <p:spPr>
          <a:xfrm>
            <a:off x="8264886" y="1131680"/>
            <a:ext cx="3026664" cy="2595364"/>
          </a:xfrm>
          <a:prstGeom prst="rect">
            <a:avLst/>
          </a:prstGeom>
        </p:spPr>
      </p:pic>
      <p:pic>
        <p:nvPicPr>
          <p:cNvPr id="19" name="Resim 18" descr="iç mekan içeren bir resim&#10;&#10;Açıklama otomatik olarak oluşturuldu">
            <a:extLst>
              <a:ext uri="{FF2B5EF4-FFF2-40B4-BE49-F238E27FC236}">
                <a16:creationId xmlns:a16="http://schemas.microsoft.com/office/drawing/2014/main" id="{E896A214-0C49-6B9C-F0B8-534B18E4CDB9}"/>
              </a:ext>
            </a:extLst>
          </p:cNvPr>
          <p:cNvPicPr>
            <a:picLocks noChangeAspect="1"/>
          </p:cNvPicPr>
          <p:nvPr/>
        </p:nvPicPr>
        <p:blipFill rotWithShape="1">
          <a:blip r:embed="rId4"/>
          <a:srcRect t="17679"/>
          <a:stretch/>
        </p:blipFill>
        <p:spPr>
          <a:xfrm>
            <a:off x="990333" y="1398471"/>
            <a:ext cx="3026664" cy="2061783"/>
          </a:xfrm>
          <a:prstGeom prst="rect">
            <a:avLst/>
          </a:prstGeom>
        </p:spPr>
      </p:pic>
      <p:sp>
        <p:nvSpPr>
          <p:cNvPr id="5" name="Rectangle 1"/>
          <p:cNvSpPr>
            <a:spLocks noChangeArrowheads="1"/>
          </p:cNvSpPr>
          <p:nvPr/>
        </p:nvSpPr>
        <p:spPr bwMode="auto">
          <a:xfrm>
            <a:off x="1" y="88437"/>
            <a:ext cx="65" cy="20412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3225" rIns="0" bIns="-13225" numCol="1" anchor="ctr" anchorCtr="0" compatLnSpc="1">
            <a:prstTxWarp prst="textNoShape">
              <a:avLst/>
            </a:prstTxWarp>
            <a:spAutoFit/>
          </a:bodyPr>
          <a:lstStyle/>
          <a:p>
            <a:pPr defTabSz="761970" eaLnBrk="0" fontAlgn="base" hangingPunct="0">
              <a:spcBef>
                <a:spcPct val="0"/>
              </a:spcBef>
              <a:spcAft>
                <a:spcPct val="0"/>
              </a:spcAft>
            </a:pPr>
            <a:endParaRPr lang="tr-TR" altLang="tr-TR" sz="1500" dirty="0">
              <a:latin typeface="Arial" panose="020B0604020202020204" pitchFamily="34" charset="0"/>
            </a:endParaRPr>
          </a:p>
        </p:txBody>
      </p:sp>
      <p:pic>
        <p:nvPicPr>
          <p:cNvPr id="22" name="Resim 21" descr="metin, logo içeren bir resim&#10;&#10;Açıklama otomatik olarak oluşturuldu">
            <a:extLst>
              <a:ext uri="{FF2B5EF4-FFF2-40B4-BE49-F238E27FC236}">
                <a16:creationId xmlns:a16="http://schemas.microsoft.com/office/drawing/2014/main" id="{1A821E50-07CC-6454-D9BF-2E7BA2378D22}"/>
              </a:ext>
            </a:extLst>
          </p:cNvPr>
          <p:cNvPicPr>
            <a:picLocks noChangeAspect="1"/>
          </p:cNvPicPr>
          <p:nvPr/>
        </p:nvPicPr>
        <p:blipFill>
          <a:blip r:embed="rId5"/>
          <a:stretch>
            <a:fillRect/>
          </a:stretch>
        </p:blipFill>
        <p:spPr>
          <a:xfrm>
            <a:off x="8886588" y="65567"/>
            <a:ext cx="2647278" cy="615492"/>
          </a:xfrm>
          <a:prstGeom prst="rect">
            <a:avLst/>
          </a:prstGeom>
        </p:spPr>
      </p:pic>
      <p:pic>
        <p:nvPicPr>
          <p:cNvPr id="23" name="Resim 22" descr="logo içeren bir resim&#10;&#10;Açıklama otomatik olarak oluşturuldu">
            <a:extLst>
              <a:ext uri="{FF2B5EF4-FFF2-40B4-BE49-F238E27FC236}">
                <a16:creationId xmlns:a16="http://schemas.microsoft.com/office/drawing/2014/main" id="{0BDDDBF6-A65D-02EE-9EDB-4799D85ABF3A}"/>
              </a:ext>
            </a:extLst>
          </p:cNvPr>
          <p:cNvPicPr>
            <a:picLocks noChangeAspect="1"/>
          </p:cNvPicPr>
          <p:nvPr/>
        </p:nvPicPr>
        <p:blipFill>
          <a:blip r:embed="rId6"/>
          <a:stretch>
            <a:fillRect/>
          </a:stretch>
        </p:blipFill>
        <p:spPr>
          <a:xfrm>
            <a:off x="749647" y="4303127"/>
            <a:ext cx="2947285" cy="685547"/>
          </a:xfrm>
          <a:prstGeom prst="rect">
            <a:avLst/>
          </a:prstGeom>
          <a:solidFill>
            <a:schemeClr val="bg1"/>
          </a:solidFill>
        </p:spPr>
      </p:pic>
    </p:spTree>
    <p:extLst>
      <p:ext uri="{BB962C8B-B14F-4D97-AF65-F5344CB8AC3E}">
        <p14:creationId xmlns:p14="http://schemas.microsoft.com/office/powerpoint/2010/main" val="345083103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12">
            <a:extLst>
              <a:ext uri="{FF2B5EF4-FFF2-40B4-BE49-F238E27FC236}">
                <a16:creationId xmlns:a16="http://schemas.microsoft.com/office/drawing/2014/main" id="{467F378D-A000-47AE-83B2-D9954D8C94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14">
            <a:extLst>
              <a:ext uri="{FF2B5EF4-FFF2-40B4-BE49-F238E27FC236}">
                <a16:creationId xmlns:a16="http://schemas.microsoft.com/office/drawing/2014/main" id="{48E26863-5660-4928-984A-CA2CFC8F6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49647" y="746626"/>
            <a:ext cx="3508037" cy="3365476"/>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FFFFF"/>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Rectangle 6">
            <a:extLst>
              <a:ext uri="{FF2B5EF4-FFF2-40B4-BE49-F238E27FC236}">
                <a16:creationId xmlns:a16="http://schemas.microsoft.com/office/drawing/2014/main" id="{D7538F2A-6532-4E38-8354-21841BB0B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10065" y="580586"/>
            <a:ext cx="1027015" cy="258262"/>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18">
            <a:extLst>
              <a:ext uri="{FF2B5EF4-FFF2-40B4-BE49-F238E27FC236}">
                <a16:creationId xmlns:a16="http://schemas.microsoft.com/office/drawing/2014/main" id="{52F31131-35FC-4834-8E62-1D9DA3BE2A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74148" y="746626"/>
            <a:ext cx="3508037" cy="3365476"/>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FFFFF"/>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0" name="Freeform: Shape 20">
            <a:extLst>
              <a:ext uri="{FF2B5EF4-FFF2-40B4-BE49-F238E27FC236}">
                <a16:creationId xmlns:a16="http://schemas.microsoft.com/office/drawing/2014/main" id="{E7AD7F70-85A5-463C-9B1F-3182B60F86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570" y="746626"/>
            <a:ext cx="3511296" cy="3365476"/>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FFFFF"/>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1" name="Rectangle 6">
            <a:extLst>
              <a:ext uri="{FF2B5EF4-FFF2-40B4-BE49-F238E27FC236}">
                <a16:creationId xmlns:a16="http://schemas.microsoft.com/office/drawing/2014/main" id="{E5F002A4-1B0E-473E-AD7B-8346FB83B4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7422924" y="2300232"/>
            <a:ext cx="1027015" cy="258262"/>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5" name="Freeform: Shape 24">
            <a:extLst>
              <a:ext uri="{FF2B5EF4-FFF2-40B4-BE49-F238E27FC236}">
                <a16:creationId xmlns:a16="http://schemas.microsoft.com/office/drawing/2014/main" id="{13AF7514-9DD7-4ADB-84DF-5D8B61E735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19" y="4298302"/>
            <a:ext cx="12192000" cy="2559698"/>
          </a:xfrm>
          <a:custGeom>
            <a:avLst/>
            <a:gdLst>
              <a:gd name="connsiteX0" fmla="*/ 1462415 w 12192000"/>
              <a:gd name="connsiteY0" fmla="*/ 0 h 2685062"/>
              <a:gd name="connsiteX1" fmla="*/ 1494432 w 12192000"/>
              <a:gd name="connsiteY1" fmla="*/ 2457 h 2685062"/>
              <a:gd name="connsiteX2" fmla="*/ 1523667 w 12192000"/>
              <a:gd name="connsiteY2" fmla="*/ 11778 h 2685062"/>
              <a:gd name="connsiteX3" fmla="*/ 1523067 w 12192000"/>
              <a:gd name="connsiteY3" fmla="*/ 14207 h 2685062"/>
              <a:gd name="connsiteX4" fmla="*/ 1527695 w 12192000"/>
              <a:gd name="connsiteY4" fmla="*/ 15715 h 2685062"/>
              <a:gd name="connsiteX5" fmla="*/ 1532258 w 12192000"/>
              <a:gd name="connsiteY5" fmla="*/ 14518 h 2685062"/>
              <a:gd name="connsiteX6" fmla="*/ 1537796 w 12192000"/>
              <a:gd name="connsiteY6" fmla="*/ 16283 h 2685062"/>
              <a:gd name="connsiteX7" fmla="*/ 1553041 w 12192000"/>
              <a:gd name="connsiteY7" fmla="*/ 20452 h 2685062"/>
              <a:gd name="connsiteX8" fmla="*/ 1557495 w 12192000"/>
              <a:gd name="connsiteY8" fmla="*/ 25861 h 2685062"/>
              <a:gd name="connsiteX9" fmla="*/ 1617448 w 12192000"/>
              <a:gd name="connsiteY9" fmla="*/ 40977 h 2685062"/>
              <a:gd name="connsiteX10" fmla="*/ 1636697 w 12192000"/>
              <a:gd name="connsiteY10" fmla="*/ 39108 h 2685062"/>
              <a:gd name="connsiteX11" fmla="*/ 1657286 w 12192000"/>
              <a:gd name="connsiteY11" fmla="*/ 49000 h 2685062"/>
              <a:gd name="connsiteX12" fmla="*/ 1719191 w 12192000"/>
              <a:gd name="connsiteY12" fmla="*/ 56920 h 2685062"/>
              <a:gd name="connsiteX13" fmla="*/ 1787126 w 12192000"/>
              <a:gd name="connsiteY13" fmla="*/ 71960 h 2685062"/>
              <a:gd name="connsiteX14" fmla="*/ 1834555 w 12192000"/>
              <a:gd name="connsiteY14" fmla="*/ 86590 h 2685062"/>
              <a:gd name="connsiteX15" fmla="*/ 1966070 w 12192000"/>
              <a:gd name="connsiteY15" fmla="*/ 103987 h 2685062"/>
              <a:gd name="connsiteX16" fmla="*/ 2188582 w 12192000"/>
              <a:gd name="connsiteY16" fmla="*/ 124532 h 2685062"/>
              <a:gd name="connsiteX17" fmla="*/ 2234811 w 12192000"/>
              <a:gd name="connsiteY17" fmla="*/ 130739 h 2685062"/>
              <a:gd name="connsiteX18" fmla="*/ 2270005 w 12192000"/>
              <a:gd name="connsiteY18" fmla="*/ 143358 h 2685062"/>
              <a:gd name="connsiteX19" fmla="*/ 2274208 w 12192000"/>
              <a:gd name="connsiteY19" fmla="*/ 152634 h 2685062"/>
              <a:gd name="connsiteX20" fmla="*/ 2298905 w 12192000"/>
              <a:gd name="connsiteY20" fmla="*/ 157215 h 2685062"/>
              <a:gd name="connsiteX21" fmla="*/ 2304521 w 12192000"/>
              <a:gd name="connsiteY21" fmla="*/ 159957 h 2685062"/>
              <a:gd name="connsiteX22" fmla="*/ 2337696 w 12192000"/>
              <a:gd name="connsiteY22" fmla="*/ 174150 h 2685062"/>
              <a:gd name="connsiteX23" fmla="*/ 2432112 w 12192000"/>
              <a:gd name="connsiteY23" fmla="*/ 166646 h 2685062"/>
              <a:gd name="connsiteX24" fmla="*/ 2500149 w 12192000"/>
              <a:gd name="connsiteY24" fmla="*/ 168723 h 2685062"/>
              <a:gd name="connsiteX25" fmla="*/ 2504776 w 12192000"/>
              <a:gd name="connsiteY25" fmla="*/ 171455 h 2685062"/>
              <a:gd name="connsiteX26" fmla="*/ 2507358 w 12192000"/>
              <a:gd name="connsiteY26" fmla="*/ 177677 h 2685062"/>
              <a:gd name="connsiteX27" fmla="*/ 2518847 w 12192000"/>
              <a:gd name="connsiteY27" fmla="*/ 180936 h 2685062"/>
              <a:gd name="connsiteX28" fmla="*/ 2528864 w 12192000"/>
              <a:gd name="connsiteY28" fmla="*/ 188517 h 2685062"/>
              <a:gd name="connsiteX29" fmla="*/ 2938613 w 12192000"/>
              <a:gd name="connsiteY29" fmla="*/ 248764 h 2685062"/>
              <a:gd name="connsiteX30" fmla="*/ 3132513 w 12192000"/>
              <a:gd name="connsiteY30" fmla="*/ 229282 h 2685062"/>
              <a:gd name="connsiteX31" fmla="*/ 3208657 w 12192000"/>
              <a:gd name="connsiteY31" fmla="*/ 230814 h 2685062"/>
              <a:gd name="connsiteX32" fmla="*/ 3217904 w 12192000"/>
              <a:gd name="connsiteY32" fmla="*/ 237375 h 2685062"/>
              <a:gd name="connsiteX33" fmla="*/ 3330150 w 12192000"/>
              <a:gd name="connsiteY33" fmla="*/ 214762 h 2685062"/>
              <a:gd name="connsiteX34" fmla="*/ 3480527 w 12192000"/>
              <a:gd name="connsiteY34" fmla="*/ 231960 h 2685062"/>
              <a:gd name="connsiteX35" fmla="*/ 3591806 w 12192000"/>
              <a:gd name="connsiteY35" fmla="*/ 253003 h 2685062"/>
              <a:gd name="connsiteX36" fmla="*/ 3655143 w 12192000"/>
              <a:gd name="connsiteY36" fmla="*/ 261318 h 2685062"/>
              <a:gd name="connsiteX37" fmla="*/ 3700191 w 12192000"/>
              <a:gd name="connsiteY37" fmla="*/ 271235 h 2685062"/>
              <a:gd name="connsiteX38" fmla="*/ 3820459 w 12192000"/>
              <a:gd name="connsiteY38" fmla="*/ 275675 h 2685062"/>
              <a:gd name="connsiteX39" fmla="*/ 4022158 w 12192000"/>
              <a:gd name="connsiteY39" fmla="*/ 274341 h 2685062"/>
              <a:gd name="connsiteX40" fmla="*/ 4164508 w 12192000"/>
              <a:gd name="connsiteY40" fmla="*/ 309117 h 2685062"/>
              <a:gd name="connsiteX41" fmla="*/ 4246843 w 12192000"/>
              <a:gd name="connsiteY41" fmla="*/ 292417 h 2685062"/>
              <a:gd name="connsiteX42" fmla="*/ 4337133 w 12192000"/>
              <a:gd name="connsiteY42" fmla="*/ 304707 h 2685062"/>
              <a:gd name="connsiteX43" fmla="*/ 4696109 w 12192000"/>
              <a:gd name="connsiteY43" fmla="*/ 300060 h 2685062"/>
              <a:gd name="connsiteX44" fmla="*/ 4928090 w 12192000"/>
              <a:gd name="connsiteY44" fmla="*/ 291457 h 2685062"/>
              <a:gd name="connsiteX45" fmla="*/ 4960316 w 12192000"/>
              <a:gd name="connsiteY45" fmla="*/ 287841 h 2685062"/>
              <a:gd name="connsiteX46" fmla="*/ 4960840 w 12192000"/>
              <a:gd name="connsiteY46" fmla="*/ 285406 h 2685062"/>
              <a:gd name="connsiteX47" fmla="*/ 4965958 w 12192000"/>
              <a:gd name="connsiteY47" fmla="*/ 284802 h 2685062"/>
              <a:gd name="connsiteX48" fmla="*/ 4969785 w 12192000"/>
              <a:gd name="connsiteY48" fmla="*/ 286778 h 2685062"/>
              <a:gd name="connsiteX49" fmla="*/ 4975889 w 12192000"/>
              <a:gd name="connsiteY49" fmla="*/ 286093 h 2685062"/>
              <a:gd name="connsiteX50" fmla="*/ 4992382 w 12192000"/>
              <a:gd name="connsiteY50" fmla="*/ 284871 h 2685062"/>
              <a:gd name="connsiteX51" fmla="*/ 4999094 w 12192000"/>
              <a:gd name="connsiteY51" fmla="*/ 280499 h 2685062"/>
              <a:gd name="connsiteX52" fmla="*/ 5080965 w 12192000"/>
              <a:gd name="connsiteY52" fmla="*/ 282208 h 2685062"/>
              <a:gd name="connsiteX53" fmla="*/ 5105166 w 12192000"/>
              <a:gd name="connsiteY53" fmla="*/ 276473 h 2685062"/>
              <a:gd name="connsiteX54" fmla="*/ 5168054 w 12192000"/>
              <a:gd name="connsiteY54" fmla="*/ 280137 h 2685062"/>
              <a:gd name="connsiteX55" fmla="*/ 5239940 w 12192000"/>
              <a:gd name="connsiteY55" fmla="*/ 278079 h 2685062"/>
              <a:gd name="connsiteX56" fmla="*/ 5291998 w 12192000"/>
              <a:gd name="connsiteY56" fmla="*/ 272685 h 2685062"/>
              <a:gd name="connsiteX57" fmla="*/ 5425861 w 12192000"/>
              <a:gd name="connsiteY57" fmla="*/ 279926 h 2685062"/>
              <a:gd name="connsiteX58" fmla="*/ 5648321 w 12192000"/>
              <a:gd name="connsiteY58" fmla="*/ 300693 h 2685062"/>
              <a:gd name="connsiteX59" fmla="*/ 5695414 w 12192000"/>
              <a:gd name="connsiteY59" fmla="*/ 303150 h 2685062"/>
              <a:gd name="connsiteX60" fmla="*/ 5743064 w 12192000"/>
              <a:gd name="connsiteY60" fmla="*/ 289335 h 2685062"/>
              <a:gd name="connsiteX61" fmla="*/ 5768797 w 12192000"/>
              <a:gd name="connsiteY61" fmla="*/ 289436 h 2685062"/>
              <a:gd name="connsiteX62" fmla="*/ 5775419 w 12192000"/>
              <a:gd name="connsiteY62" fmla="*/ 287831 h 2685062"/>
              <a:gd name="connsiteX63" fmla="*/ 5813624 w 12192000"/>
              <a:gd name="connsiteY63" fmla="*/ 280263 h 2685062"/>
              <a:gd name="connsiteX64" fmla="*/ 5900676 w 12192000"/>
              <a:gd name="connsiteY64" fmla="*/ 304615 h 2685062"/>
              <a:gd name="connsiteX65" fmla="*/ 5966795 w 12192000"/>
              <a:gd name="connsiteY65" fmla="*/ 314993 h 2685062"/>
              <a:gd name="connsiteX66" fmla="*/ 5972463 w 12192000"/>
              <a:gd name="connsiteY66" fmla="*/ 313217 h 2685062"/>
              <a:gd name="connsiteX67" fmla="*/ 5977754 w 12192000"/>
              <a:gd name="connsiteY67" fmla="*/ 307726 h 2685062"/>
              <a:gd name="connsiteX68" fmla="*/ 5990232 w 12192000"/>
              <a:gd name="connsiteY68" fmla="*/ 306694 h 2685062"/>
              <a:gd name="connsiteX69" fmla="*/ 6003260 w 12192000"/>
              <a:gd name="connsiteY69" fmla="*/ 301250 h 2685062"/>
              <a:gd name="connsiteX70" fmla="*/ 6398655 w 12192000"/>
              <a:gd name="connsiteY70" fmla="*/ 340447 h 2685062"/>
              <a:gd name="connsiteX71" fmla="*/ 6477250 w 12192000"/>
              <a:gd name="connsiteY71" fmla="*/ 370643 h 2685062"/>
              <a:gd name="connsiteX72" fmla="*/ 6599996 w 12192000"/>
              <a:gd name="connsiteY72" fmla="*/ 371929 h 2685062"/>
              <a:gd name="connsiteX73" fmla="*/ 6673632 w 12192000"/>
              <a:gd name="connsiteY73" fmla="*/ 384303 h 2685062"/>
              <a:gd name="connsiteX74" fmla="*/ 6685461 w 12192000"/>
              <a:gd name="connsiteY74" fmla="*/ 379698 h 2685062"/>
              <a:gd name="connsiteX75" fmla="*/ 6782761 w 12192000"/>
              <a:gd name="connsiteY75" fmla="*/ 421766 h 2685062"/>
              <a:gd name="connsiteX76" fmla="*/ 6934599 w 12192000"/>
              <a:gd name="connsiteY76" fmla="*/ 432626 h 2685062"/>
              <a:gd name="connsiteX77" fmla="*/ 7050728 w 12192000"/>
              <a:gd name="connsiteY77" fmla="*/ 432695 h 2685062"/>
              <a:gd name="connsiteX78" fmla="*/ 7115167 w 12192000"/>
              <a:gd name="connsiteY78" fmla="*/ 436243 h 2685062"/>
              <a:gd name="connsiteX79" fmla="*/ 7162809 w 12192000"/>
              <a:gd name="connsiteY79" fmla="*/ 434931 h 2685062"/>
              <a:gd name="connsiteX80" fmla="*/ 7280034 w 12192000"/>
              <a:gd name="connsiteY80" fmla="*/ 452539 h 2685062"/>
              <a:gd name="connsiteX81" fmla="*/ 7472654 w 12192000"/>
              <a:gd name="connsiteY81" fmla="*/ 490482 h 2685062"/>
              <a:gd name="connsiteX82" fmla="*/ 7696080 w 12192000"/>
              <a:gd name="connsiteY82" fmla="*/ 514010 h 2685062"/>
              <a:gd name="connsiteX83" fmla="*/ 7788139 w 12192000"/>
              <a:gd name="connsiteY83" fmla="*/ 518649 h 2685062"/>
              <a:gd name="connsiteX84" fmla="*/ 8227756 w 12192000"/>
              <a:gd name="connsiteY84" fmla="*/ 558548 h 2685062"/>
              <a:gd name="connsiteX85" fmla="*/ 8328859 w 12192000"/>
              <a:gd name="connsiteY85" fmla="*/ 582867 h 2685062"/>
              <a:gd name="connsiteX86" fmla="*/ 8532898 w 12192000"/>
              <a:gd name="connsiteY86" fmla="*/ 668282 h 2685062"/>
              <a:gd name="connsiteX87" fmla="*/ 8792925 w 12192000"/>
              <a:gd name="connsiteY87" fmla="*/ 701900 h 2685062"/>
              <a:gd name="connsiteX88" fmla="*/ 8809491 w 12192000"/>
              <a:gd name="connsiteY88" fmla="*/ 717262 h 2685062"/>
              <a:gd name="connsiteX89" fmla="*/ 8814066 w 12192000"/>
              <a:gd name="connsiteY89" fmla="*/ 719410 h 2685062"/>
              <a:gd name="connsiteX90" fmla="*/ 8815751 w 12192000"/>
              <a:gd name="connsiteY90" fmla="*/ 718686 h 2685062"/>
              <a:gd name="connsiteX91" fmla="*/ 8840540 w 12192000"/>
              <a:gd name="connsiteY91" fmla="*/ 717083 h 2685062"/>
              <a:gd name="connsiteX92" fmla="*/ 8897062 w 12192000"/>
              <a:gd name="connsiteY92" fmla="*/ 697553 h 2685062"/>
              <a:gd name="connsiteX93" fmla="*/ 8965922 w 12192000"/>
              <a:gd name="connsiteY93" fmla="*/ 672885 h 2685062"/>
              <a:gd name="connsiteX94" fmla="*/ 9016694 w 12192000"/>
              <a:gd name="connsiteY94" fmla="*/ 669496 h 2685062"/>
              <a:gd name="connsiteX95" fmla="*/ 9139695 w 12192000"/>
              <a:gd name="connsiteY95" fmla="*/ 648174 h 2685062"/>
              <a:gd name="connsiteX96" fmla="*/ 9219129 w 12192000"/>
              <a:gd name="connsiteY96" fmla="*/ 639013 h 2685062"/>
              <a:gd name="connsiteX97" fmla="*/ 9221354 w 12192000"/>
              <a:gd name="connsiteY97" fmla="*/ 638501 h 2685062"/>
              <a:gd name="connsiteX98" fmla="*/ 9237592 w 12192000"/>
              <a:gd name="connsiteY98" fmla="*/ 642494 h 2685062"/>
              <a:gd name="connsiteX99" fmla="*/ 9236570 w 12192000"/>
              <a:gd name="connsiteY99" fmla="*/ 648762 h 2685062"/>
              <a:gd name="connsiteX100" fmla="*/ 9250521 w 12192000"/>
              <a:gd name="connsiteY100" fmla="*/ 654041 h 2685062"/>
              <a:gd name="connsiteX101" fmla="*/ 9279357 w 12192000"/>
              <a:gd name="connsiteY101" fmla="*/ 653083 h 2685062"/>
              <a:gd name="connsiteX102" fmla="*/ 9289731 w 12192000"/>
              <a:gd name="connsiteY102" fmla="*/ 656356 h 2685062"/>
              <a:gd name="connsiteX103" fmla="*/ 9293723 w 12192000"/>
              <a:gd name="connsiteY103" fmla="*/ 656237 h 2685062"/>
              <a:gd name="connsiteX104" fmla="*/ 9303097 w 12192000"/>
              <a:gd name="connsiteY104" fmla="*/ 656723 h 2685062"/>
              <a:gd name="connsiteX105" fmla="*/ 9302251 w 12192000"/>
              <a:gd name="connsiteY105" fmla="*/ 652725 h 2685062"/>
              <a:gd name="connsiteX106" fmla="*/ 9314122 w 12192000"/>
              <a:gd name="connsiteY106" fmla="*/ 645860 h 2685062"/>
              <a:gd name="connsiteX107" fmla="*/ 9367772 w 12192000"/>
              <a:gd name="connsiteY107" fmla="*/ 650683 h 2685062"/>
              <a:gd name="connsiteX108" fmla="*/ 9370291 w 12192000"/>
              <a:gd name="connsiteY108" fmla="*/ 655264 h 2685062"/>
              <a:gd name="connsiteX109" fmla="*/ 9377007 w 12192000"/>
              <a:gd name="connsiteY109" fmla="*/ 656308 h 2685062"/>
              <a:gd name="connsiteX110" fmla="*/ 9382497 w 12192000"/>
              <a:gd name="connsiteY110" fmla="*/ 652427 h 2685062"/>
              <a:gd name="connsiteX111" fmla="*/ 9474013 w 12192000"/>
              <a:gd name="connsiteY111" fmla="*/ 647005 h 2685062"/>
              <a:gd name="connsiteX112" fmla="*/ 9595899 w 12192000"/>
              <a:gd name="connsiteY112" fmla="*/ 646979 h 2685062"/>
              <a:gd name="connsiteX113" fmla="*/ 9681269 w 12192000"/>
              <a:gd name="connsiteY113" fmla="*/ 669984 h 2685062"/>
              <a:gd name="connsiteX114" fmla="*/ 9689635 w 12192000"/>
              <a:gd name="connsiteY114" fmla="*/ 666408 h 2685062"/>
              <a:gd name="connsiteX115" fmla="*/ 9750215 w 12192000"/>
              <a:gd name="connsiteY115" fmla="*/ 671056 h 2685062"/>
              <a:gd name="connsiteX116" fmla="*/ 9957974 w 12192000"/>
              <a:gd name="connsiteY116" fmla="*/ 715080 h 2685062"/>
              <a:gd name="connsiteX117" fmla="*/ 10076482 w 12192000"/>
              <a:gd name="connsiteY117" fmla="*/ 723397 h 2685062"/>
              <a:gd name="connsiteX118" fmla="*/ 10119263 w 12192000"/>
              <a:gd name="connsiteY118" fmla="*/ 721877 h 2685062"/>
              <a:gd name="connsiteX119" fmla="*/ 10190893 w 12192000"/>
              <a:gd name="connsiteY119" fmla="*/ 719606 h 2685062"/>
              <a:gd name="connsiteX120" fmla="*/ 10246203 w 12192000"/>
              <a:gd name="connsiteY120" fmla="*/ 706893 h 2685062"/>
              <a:gd name="connsiteX121" fmla="*/ 10305396 w 12192000"/>
              <a:gd name="connsiteY121" fmla="*/ 709359 h 2685062"/>
              <a:gd name="connsiteX122" fmla="*/ 10316856 w 12192000"/>
              <a:gd name="connsiteY122" fmla="*/ 724179 h 2685062"/>
              <a:gd name="connsiteX123" fmla="*/ 10380919 w 12192000"/>
              <a:gd name="connsiteY123" fmla="*/ 722193 h 2685062"/>
              <a:gd name="connsiteX124" fmla="*/ 10478351 w 12192000"/>
              <a:gd name="connsiteY124" fmla="*/ 717620 h 2685062"/>
              <a:gd name="connsiteX125" fmla="*/ 10533954 w 12192000"/>
              <a:gd name="connsiteY125" fmla="*/ 718660 h 2685062"/>
              <a:gd name="connsiteX126" fmla="*/ 10686474 w 12192000"/>
              <a:gd name="connsiteY126" fmla="*/ 717507 h 2685062"/>
              <a:gd name="connsiteX127" fmla="*/ 10839729 w 12192000"/>
              <a:gd name="connsiteY127" fmla="*/ 713306 h 2685062"/>
              <a:gd name="connsiteX128" fmla="*/ 10933271 w 12192000"/>
              <a:gd name="connsiteY128" fmla="*/ 693628 h 2685062"/>
              <a:gd name="connsiteX129" fmla="*/ 11058950 w 12192000"/>
              <a:gd name="connsiteY129" fmla="*/ 692031 h 2685062"/>
              <a:gd name="connsiteX130" fmla="*/ 11080388 w 12192000"/>
              <a:gd name="connsiteY130" fmla="*/ 689245 h 2685062"/>
              <a:gd name="connsiteX131" fmla="*/ 11108911 w 12192000"/>
              <a:gd name="connsiteY131" fmla="*/ 693363 h 2685062"/>
              <a:gd name="connsiteX132" fmla="*/ 11223119 w 12192000"/>
              <a:gd name="connsiteY132" fmla="*/ 710661 h 2685062"/>
              <a:gd name="connsiteX133" fmla="*/ 11311983 w 12192000"/>
              <a:gd name="connsiteY133" fmla="*/ 731410 h 2685062"/>
              <a:gd name="connsiteX134" fmla="*/ 11426940 w 12192000"/>
              <a:gd name="connsiteY134" fmla="*/ 727340 h 2685062"/>
              <a:gd name="connsiteX135" fmla="*/ 11495624 w 12192000"/>
              <a:gd name="connsiteY135" fmla="*/ 734858 h 2685062"/>
              <a:gd name="connsiteX136" fmla="*/ 11605975 w 12192000"/>
              <a:gd name="connsiteY136" fmla="*/ 762433 h 2685062"/>
              <a:gd name="connsiteX137" fmla="*/ 11756134 w 12192000"/>
              <a:gd name="connsiteY137" fmla="*/ 765012 h 2685062"/>
              <a:gd name="connsiteX138" fmla="*/ 11789788 w 12192000"/>
              <a:gd name="connsiteY138" fmla="*/ 745316 h 2685062"/>
              <a:gd name="connsiteX139" fmla="*/ 11832833 w 12192000"/>
              <a:gd name="connsiteY139" fmla="*/ 734720 h 2685062"/>
              <a:gd name="connsiteX140" fmla="*/ 11846338 w 12192000"/>
              <a:gd name="connsiteY140" fmla="*/ 765994 h 2685062"/>
              <a:gd name="connsiteX141" fmla="*/ 11972492 w 12192000"/>
              <a:gd name="connsiteY141" fmla="*/ 796180 h 2685062"/>
              <a:gd name="connsiteX142" fmla="*/ 12035979 w 12192000"/>
              <a:gd name="connsiteY142" fmla="*/ 807835 h 2685062"/>
              <a:gd name="connsiteX143" fmla="*/ 12135850 w 12192000"/>
              <a:gd name="connsiteY143" fmla="*/ 819056 h 2685062"/>
              <a:gd name="connsiteX144" fmla="*/ 12166092 w 12192000"/>
              <a:gd name="connsiteY144" fmla="*/ 823695 h 2685062"/>
              <a:gd name="connsiteX145" fmla="*/ 12190645 w 12192000"/>
              <a:gd name="connsiteY145" fmla="*/ 826863 h 2685062"/>
              <a:gd name="connsiteX146" fmla="*/ 12192000 w 12192000"/>
              <a:gd name="connsiteY146" fmla="*/ 880762 h 2685062"/>
              <a:gd name="connsiteX147" fmla="*/ 12192000 w 12192000"/>
              <a:gd name="connsiteY147" fmla="*/ 2685062 h 2685062"/>
              <a:gd name="connsiteX148" fmla="*/ 0 w 12192000"/>
              <a:gd name="connsiteY148" fmla="*/ 2685062 h 2685062"/>
              <a:gd name="connsiteX149" fmla="*/ 0 w 12192000"/>
              <a:gd name="connsiteY149" fmla="*/ 283917 h 2685062"/>
              <a:gd name="connsiteX150" fmla="*/ 44213 w 12192000"/>
              <a:gd name="connsiteY150" fmla="*/ 302297 h 2685062"/>
              <a:gd name="connsiteX151" fmla="*/ 172465 w 12192000"/>
              <a:gd name="connsiteY151" fmla="*/ 314866 h 2685062"/>
              <a:gd name="connsiteX152" fmla="*/ 223361 w 12192000"/>
              <a:gd name="connsiteY152" fmla="*/ 304828 h 2685062"/>
              <a:gd name="connsiteX153" fmla="*/ 320595 w 12192000"/>
              <a:gd name="connsiteY153" fmla="*/ 288341 h 2685062"/>
              <a:gd name="connsiteX154" fmla="*/ 401087 w 12192000"/>
              <a:gd name="connsiteY154" fmla="*/ 246745 h 2685062"/>
              <a:gd name="connsiteX155" fmla="*/ 495839 w 12192000"/>
              <a:gd name="connsiteY155" fmla="*/ 217305 h 2685062"/>
              <a:gd name="connsiteX156" fmla="*/ 507910 w 12192000"/>
              <a:gd name="connsiteY156" fmla="*/ 219773 h 2685062"/>
              <a:gd name="connsiteX157" fmla="*/ 561428 w 12192000"/>
              <a:gd name="connsiteY157" fmla="*/ 201460 h 2685062"/>
              <a:gd name="connsiteX158" fmla="*/ 712813 w 12192000"/>
              <a:gd name="connsiteY158" fmla="*/ 151411 h 2685062"/>
              <a:gd name="connsiteX159" fmla="*/ 819366 w 12192000"/>
              <a:gd name="connsiteY159" fmla="*/ 70479 h 2685062"/>
              <a:gd name="connsiteX160" fmla="*/ 862489 w 12192000"/>
              <a:gd name="connsiteY160" fmla="*/ 63238 h 2685062"/>
              <a:gd name="connsiteX161" fmla="*/ 934387 w 12192000"/>
              <a:gd name="connsiteY161" fmla="*/ 50788 h 2685062"/>
              <a:gd name="connsiteX162" fmla="*/ 948874 w 12192000"/>
              <a:gd name="connsiteY162" fmla="*/ 55208 h 2685062"/>
              <a:gd name="connsiteX163" fmla="*/ 955237 w 12192000"/>
              <a:gd name="connsiteY163" fmla="*/ 54040 h 2685062"/>
              <a:gd name="connsiteX164" fmla="*/ 955886 w 12192000"/>
              <a:gd name="connsiteY164" fmla="*/ 54325 h 2685062"/>
              <a:gd name="connsiteX165" fmla="*/ 957239 w 12192000"/>
              <a:gd name="connsiteY165" fmla="*/ 53673 h 2685062"/>
              <a:gd name="connsiteX166" fmla="*/ 971343 w 12192000"/>
              <a:gd name="connsiteY166" fmla="*/ 51086 h 2685062"/>
              <a:gd name="connsiteX167" fmla="*/ 1002063 w 12192000"/>
              <a:gd name="connsiteY167" fmla="*/ 54158 h 2685062"/>
              <a:gd name="connsiteX168" fmla="*/ 1020663 w 12192000"/>
              <a:gd name="connsiteY168" fmla="*/ 53408 h 2685062"/>
              <a:gd name="connsiteX169" fmla="*/ 1039181 w 12192000"/>
              <a:gd name="connsiteY169" fmla="*/ 40356 h 2685062"/>
              <a:gd name="connsiteX170" fmla="*/ 1051914 w 12192000"/>
              <a:gd name="connsiteY170" fmla="*/ 39166 h 2685062"/>
              <a:gd name="connsiteX171" fmla="*/ 1054501 w 12192000"/>
              <a:gd name="connsiteY171" fmla="*/ 37372 h 2685062"/>
              <a:gd name="connsiteX172" fmla="*/ 1061859 w 12192000"/>
              <a:gd name="connsiteY172" fmla="*/ 33902 h 2685062"/>
              <a:gd name="connsiteX173" fmla="*/ 1054558 w 12192000"/>
              <a:gd name="connsiteY173" fmla="*/ 30385 h 2685062"/>
              <a:gd name="connsiteX174" fmla="*/ 1140852 w 12192000"/>
              <a:gd name="connsiteY174" fmla="*/ 17327 h 2685062"/>
              <a:gd name="connsiteX175" fmla="*/ 1214144 w 12192000"/>
              <a:gd name="connsiteY175" fmla="*/ 6192 h 2685062"/>
              <a:gd name="connsiteX176" fmla="*/ 1338122 w 12192000"/>
              <a:gd name="connsiteY176" fmla="*/ 27996 h 2685062"/>
              <a:gd name="connsiteX177" fmla="*/ 1462415 w 12192000"/>
              <a:gd name="connsiteY177" fmla="*/ 0 h 268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2192000" h="2685062">
                <a:moveTo>
                  <a:pt x="1462415" y="0"/>
                </a:moveTo>
                <a:lnTo>
                  <a:pt x="1494432" y="2457"/>
                </a:lnTo>
                <a:lnTo>
                  <a:pt x="1523667" y="11778"/>
                </a:lnTo>
                <a:lnTo>
                  <a:pt x="1523067" y="14207"/>
                </a:lnTo>
                <a:cubicBezTo>
                  <a:pt x="1523507" y="15871"/>
                  <a:pt x="1525127" y="16145"/>
                  <a:pt x="1527695" y="15715"/>
                </a:cubicBezTo>
                <a:lnTo>
                  <a:pt x="1532258" y="14518"/>
                </a:lnTo>
                <a:lnTo>
                  <a:pt x="1537796" y="16283"/>
                </a:lnTo>
                <a:lnTo>
                  <a:pt x="1553041" y="20452"/>
                </a:lnTo>
                <a:lnTo>
                  <a:pt x="1557495" y="25861"/>
                </a:lnTo>
                <a:cubicBezTo>
                  <a:pt x="1571578" y="34900"/>
                  <a:pt x="1608020" y="28047"/>
                  <a:pt x="1617448" y="40977"/>
                </a:cubicBezTo>
                <a:lnTo>
                  <a:pt x="1636697" y="39108"/>
                </a:lnTo>
                <a:lnTo>
                  <a:pt x="1657286" y="49000"/>
                </a:lnTo>
                <a:cubicBezTo>
                  <a:pt x="1676389" y="57312"/>
                  <a:pt x="1696470" y="62807"/>
                  <a:pt x="1719191" y="56920"/>
                </a:cubicBezTo>
                <a:cubicBezTo>
                  <a:pt x="1709669" y="73491"/>
                  <a:pt x="1773685" y="56115"/>
                  <a:pt x="1787126" y="71960"/>
                </a:cubicBezTo>
                <a:cubicBezTo>
                  <a:pt x="1795166" y="84864"/>
                  <a:pt x="1816465" y="82599"/>
                  <a:pt x="1834555" y="86590"/>
                </a:cubicBezTo>
                <a:cubicBezTo>
                  <a:pt x="1850712" y="99365"/>
                  <a:pt x="1937782" y="107374"/>
                  <a:pt x="1966070" y="103987"/>
                </a:cubicBezTo>
                <a:cubicBezTo>
                  <a:pt x="2043209" y="86564"/>
                  <a:pt x="2126459" y="137078"/>
                  <a:pt x="2188582" y="124532"/>
                </a:cubicBezTo>
                <a:cubicBezTo>
                  <a:pt x="2206064" y="124932"/>
                  <a:pt x="2221206" y="127247"/>
                  <a:pt x="2234811" y="130739"/>
                </a:cubicBezTo>
                <a:lnTo>
                  <a:pt x="2270005" y="143358"/>
                </a:lnTo>
                <a:lnTo>
                  <a:pt x="2274208" y="152634"/>
                </a:lnTo>
                <a:lnTo>
                  <a:pt x="2298905" y="157215"/>
                </a:lnTo>
                <a:lnTo>
                  <a:pt x="2304521" y="159957"/>
                </a:lnTo>
                <a:cubicBezTo>
                  <a:pt x="2315230" y="165224"/>
                  <a:pt x="2326016" y="170200"/>
                  <a:pt x="2337696" y="174150"/>
                </a:cubicBezTo>
                <a:cubicBezTo>
                  <a:pt x="2354259" y="137711"/>
                  <a:pt x="2439767" y="201742"/>
                  <a:pt x="2432112" y="166646"/>
                </a:cubicBezTo>
                <a:cubicBezTo>
                  <a:pt x="2482400" y="178172"/>
                  <a:pt x="2480978" y="159994"/>
                  <a:pt x="2500149" y="168723"/>
                </a:cubicBezTo>
                <a:lnTo>
                  <a:pt x="2504776" y="171455"/>
                </a:lnTo>
                <a:lnTo>
                  <a:pt x="2507358" y="177677"/>
                </a:lnTo>
                <a:lnTo>
                  <a:pt x="2518847" y="180936"/>
                </a:lnTo>
                <a:lnTo>
                  <a:pt x="2528864" y="188517"/>
                </a:lnTo>
                <a:cubicBezTo>
                  <a:pt x="2656589" y="189245"/>
                  <a:pt x="2818894" y="267460"/>
                  <a:pt x="2938613" y="248764"/>
                </a:cubicBezTo>
                <a:lnTo>
                  <a:pt x="3132513" y="229282"/>
                </a:lnTo>
                <a:cubicBezTo>
                  <a:pt x="3153391" y="218737"/>
                  <a:pt x="3187482" y="219423"/>
                  <a:pt x="3208657" y="230814"/>
                </a:cubicBezTo>
                <a:cubicBezTo>
                  <a:pt x="3212298" y="232773"/>
                  <a:pt x="3215412" y="234983"/>
                  <a:pt x="3217904" y="237375"/>
                </a:cubicBezTo>
                <a:cubicBezTo>
                  <a:pt x="3279351" y="212726"/>
                  <a:pt x="3298012" y="233121"/>
                  <a:pt x="3330150" y="214762"/>
                </a:cubicBezTo>
                <a:cubicBezTo>
                  <a:pt x="3405531" y="217422"/>
                  <a:pt x="3451160" y="247861"/>
                  <a:pt x="3480527" y="231960"/>
                </a:cubicBezTo>
                <a:cubicBezTo>
                  <a:pt x="3516075" y="238991"/>
                  <a:pt x="3553819" y="269164"/>
                  <a:pt x="3591806" y="253003"/>
                </a:cubicBezTo>
                <a:cubicBezTo>
                  <a:pt x="3586673" y="270421"/>
                  <a:pt x="3640034" y="246868"/>
                  <a:pt x="3655143" y="261318"/>
                </a:cubicBezTo>
                <a:cubicBezTo>
                  <a:pt x="3664868" y="273371"/>
                  <a:pt x="3683329" y="269035"/>
                  <a:pt x="3700191" y="271235"/>
                </a:cubicBezTo>
                <a:cubicBezTo>
                  <a:pt x="3717097" y="282363"/>
                  <a:pt x="3796016" y="281812"/>
                  <a:pt x="3820459" y="275675"/>
                </a:cubicBezTo>
                <a:cubicBezTo>
                  <a:pt x="3885463" y="250791"/>
                  <a:pt x="3969506" y="292904"/>
                  <a:pt x="4022158" y="274341"/>
                </a:cubicBezTo>
                <a:cubicBezTo>
                  <a:pt x="4084571" y="269096"/>
                  <a:pt x="4119856" y="297968"/>
                  <a:pt x="4164508" y="309117"/>
                </a:cubicBezTo>
                <a:cubicBezTo>
                  <a:pt x="4171915" y="271244"/>
                  <a:pt x="4260667" y="326583"/>
                  <a:pt x="4246843" y="292417"/>
                </a:cubicBezTo>
                <a:cubicBezTo>
                  <a:pt x="4309458" y="301142"/>
                  <a:pt x="4279869" y="266331"/>
                  <a:pt x="4337133" y="304707"/>
                </a:cubicBezTo>
                <a:cubicBezTo>
                  <a:pt x="4450694" y="292933"/>
                  <a:pt x="4593547" y="330375"/>
                  <a:pt x="4696109" y="300060"/>
                </a:cubicBezTo>
                <a:lnTo>
                  <a:pt x="4928090" y="291457"/>
                </a:lnTo>
                <a:lnTo>
                  <a:pt x="4960316" y="287841"/>
                </a:lnTo>
                <a:cubicBezTo>
                  <a:pt x="4960491" y="287029"/>
                  <a:pt x="4960665" y="286217"/>
                  <a:pt x="4960840" y="285406"/>
                </a:cubicBezTo>
                <a:cubicBezTo>
                  <a:pt x="4962018" y="283892"/>
                  <a:pt x="4963691" y="283924"/>
                  <a:pt x="4965958" y="284802"/>
                </a:cubicBezTo>
                <a:lnTo>
                  <a:pt x="4969785" y="286778"/>
                </a:lnTo>
                <a:lnTo>
                  <a:pt x="4975889" y="286093"/>
                </a:lnTo>
                <a:lnTo>
                  <a:pt x="4992382" y="284871"/>
                </a:lnTo>
                <a:lnTo>
                  <a:pt x="4999094" y="280499"/>
                </a:lnTo>
                <a:lnTo>
                  <a:pt x="5080965" y="282208"/>
                </a:lnTo>
                <a:lnTo>
                  <a:pt x="5105166" y="276473"/>
                </a:lnTo>
                <a:cubicBezTo>
                  <a:pt x="5127226" y="271982"/>
                  <a:pt x="5148953" y="270367"/>
                  <a:pt x="5168054" y="280137"/>
                </a:cubicBezTo>
                <a:cubicBezTo>
                  <a:pt x="5166431" y="262533"/>
                  <a:pt x="5219894" y="290815"/>
                  <a:pt x="5239940" y="278079"/>
                </a:cubicBezTo>
                <a:cubicBezTo>
                  <a:pt x="5253484" y="267178"/>
                  <a:pt x="5272860" y="273220"/>
                  <a:pt x="5291998" y="272685"/>
                </a:cubicBezTo>
                <a:cubicBezTo>
                  <a:pt x="5313255" y="263383"/>
                  <a:pt x="5400292" y="271538"/>
                  <a:pt x="5425861" y="279926"/>
                </a:cubicBezTo>
                <a:cubicBezTo>
                  <a:pt x="5491875" y="310639"/>
                  <a:pt x="5594484" y="277380"/>
                  <a:pt x="5648321" y="300693"/>
                </a:cubicBezTo>
                <a:cubicBezTo>
                  <a:pt x="5665248" y="303486"/>
                  <a:pt x="5680800" y="304021"/>
                  <a:pt x="5695414" y="303150"/>
                </a:cubicBezTo>
                <a:lnTo>
                  <a:pt x="5743064" y="289335"/>
                </a:lnTo>
                <a:lnTo>
                  <a:pt x="5768797" y="289436"/>
                </a:lnTo>
                <a:lnTo>
                  <a:pt x="5775419" y="287831"/>
                </a:lnTo>
                <a:cubicBezTo>
                  <a:pt x="5788059" y="284732"/>
                  <a:pt x="5800646" y="281926"/>
                  <a:pt x="5813624" y="280263"/>
                </a:cubicBezTo>
                <a:cubicBezTo>
                  <a:pt x="5812999" y="318182"/>
                  <a:pt x="5923892" y="272386"/>
                  <a:pt x="5900676" y="304615"/>
                </a:cubicBezTo>
                <a:cubicBezTo>
                  <a:pt x="5954067" y="302717"/>
                  <a:pt x="5944477" y="319870"/>
                  <a:pt x="5966795" y="314993"/>
                </a:cubicBezTo>
                <a:lnTo>
                  <a:pt x="5972463" y="313217"/>
                </a:lnTo>
                <a:lnTo>
                  <a:pt x="5977754" y="307726"/>
                </a:lnTo>
                <a:lnTo>
                  <a:pt x="5990232" y="306694"/>
                </a:lnTo>
                <a:lnTo>
                  <a:pt x="6003260" y="301250"/>
                </a:lnTo>
                <a:cubicBezTo>
                  <a:pt x="6125949" y="323771"/>
                  <a:pt x="6292426" y="300774"/>
                  <a:pt x="6398655" y="340447"/>
                </a:cubicBezTo>
                <a:lnTo>
                  <a:pt x="6477250" y="370643"/>
                </a:lnTo>
                <a:cubicBezTo>
                  <a:pt x="6518147" y="382960"/>
                  <a:pt x="6560561" y="347277"/>
                  <a:pt x="6599996" y="371929"/>
                </a:cubicBezTo>
                <a:cubicBezTo>
                  <a:pt x="6615225" y="385828"/>
                  <a:pt x="6648193" y="391366"/>
                  <a:pt x="6673632" y="384303"/>
                </a:cubicBezTo>
                <a:cubicBezTo>
                  <a:pt x="6678009" y="383088"/>
                  <a:pt x="6681993" y="381536"/>
                  <a:pt x="6685461" y="379698"/>
                </a:cubicBezTo>
                <a:cubicBezTo>
                  <a:pt x="6733172" y="414481"/>
                  <a:pt x="6760278" y="398336"/>
                  <a:pt x="6782761" y="421766"/>
                </a:cubicBezTo>
                <a:cubicBezTo>
                  <a:pt x="6856177" y="432921"/>
                  <a:pt x="6913662" y="412056"/>
                  <a:pt x="6934599" y="432626"/>
                </a:cubicBezTo>
                <a:cubicBezTo>
                  <a:pt x="6971837" y="432351"/>
                  <a:pt x="7021650" y="410307"/>
                  <a:pt x="7050728" y="432695"/>
                </a:cubicBezTo>
                <a:cubicBezTo>
                  <a:pt x="7053692" y="415076"/>
                  <a:pt x="7094152" y="447339"/>
                  <a:pt x="7115167" y="436243"/>
                </a:cubicBezTo>
                <a:cubicBezTo>
                  <a:pt x="7129937" y="426464"/>
                  <a:pt x="7145660" y="433973"/>
                  <a:pt x="7162809" y="434931"/>
                </a:cubicBezTo>
                <a:cubicBezTo>
                  <a:pt x="7184039" y="427343"/>
                  <a:pt x="7259393" y="442217"/>
                  <a:pt x="7280034" y="452539"/>
                </a:cubicBezTo>
                <a:cubicBezTo>
                  <a:pt x="7331046" y="488194"/>
                  <a:pt x="7430616" y="463128"/>
                  <a:pt x="7472654" y="490482"/>
                </a:cubicBezTo>
                <a:cubicBezTo>
                  <a:pt x="7541994" y="500728"/>
                  <a:pt x="7643498" y="509315"/>
                  <a:pt x="7696080" y="514010"/>
                </a:cubicBezTo>
                <a:cubicBezTo>
                  <a:pt x="7760013" y="517032"/>
                  <a:pt x="7715914" y="545003"/>
                  <a:pt x="7788139" y="518649"/>
                </a:cubicBezTo>
                <a:cubicBezTo>
                  <a:pt x="7891601" y="550571"/>
                  <a:pt x="8143222" y="510864"/>
                  <a:pt x="8227756" y="558548"/>
                </a:cubicBezTo>
                <a:cubicBezTo>
                  <a:pt x="8317876" y="569251"/>
                  <a:pt x="8261697" y="569546"/>
                  <a:pt x="8328859" y="582867"/>
                </a:cubicBezTo>
                <a:cubicBezTo>
                  <a:pt x="8336976" y="627379"/>
                  <a:pt x="8495085" y="643261"/>
                  <a:pt x="8532898" y="668282"/>
                </a:cubicBezTo>
                <a:cubicBezTo>
                  <a:pt x="8626867" y="678146"/>
                  <a:pt x="8698118" y="715603"/>
                  <a:pt x="8792925" y="701900"/>
                </a:cubicBezTo>
                <a:cubicBezTo>
                  <a:pt x="8796856" y="707882"/>
                  <a:pt x="8802564" y="712918"/>
                  <a:pt x="8809491" y="717262"/>
                </a:cubicBezTo>
                <a:lnTo>
                  <a:pt x="8814066" y="719410"/>
                </a:lnTo>
                <a:lnTo>
                  <a:pt x="8815751" y="718686"/>
                </a:lnTo>
                <a:cubicBezTo>
                  <a:pt x="8822134" y="717141"/>
                  <a:pt x="8829906" y="716502"/>
                  <a:pt x="8840540" y="717083"/>
                </a:cubicBezTo>
                <a:cubicBezTo>
                  <a:pt x="8844566" y="676948"/>
                  <a:pt x="8862586" y="704813"/>
                  <a:pt x="8897062" y="697553"/>
                </a:cubicBezTo>
                <a:cubicBezTo>
                  <a:pt x="8926967" y="693826"/>
                  <a:pt x="8941387" y="680067"/>
                  <a:pt x="8965922" y="672885"/>
                </a:cubicBezTo>
                <a:cubicBezTo>
                  <a:pt x="8985861" y="668208"/>
                  <a:pt x="8990451" y="680326"/>
                  <a:pt x="9016694" y="669496"/>
                </a:cubicBezTo>
                <a:cubicBezTo>
                  <a:pt x="9064226" y="680468"/>
                  <a:pt x="9102961" y="653230"/>
                  <a:pt x="9139695" y="648174"/>
                </a:cubicBezTo>
                <a:cubicBezTo>
                  <a:pt x="9151373" y="649226"/>
                  <a:pt x="9186538" y="645057"/>
                  <a:pt x="9219129" y="639013"/>
                </a:cubicBezTo>
                <a:lnTo>
                  <a:pt x="9221354" y="638501"/>
                </a:lnTo>
                <a:lnTo>
                  <a:pt x="9237592" y="642494"/>
                </a:lnTo>
                <a:cubicBezTo>
                  <a:pt x="9241555" y="644212"/>
                  <a:pt x="9242210" y="646204"/>
                  <a:pt x="9236570" y="648762"/>
                </a:cubicBezTo>
                <a:cubicBezTo>
                  <a:pt x="9241114" y="652055"/>
                  <a:pt x="9245782" y="653517"/>
                  <a:pt x="9250521" y="654041"/>
                </a:cubicBezTo>
                <a:cubicBezTo>
                  <a:pt x="9259996" y="655089"/>
                  <a:pt x="9269753" y="652386"/>
                  <a:pt x="9279357" y="653083"/>
                </a:cubicBezTo>
                <a:lnTo>
                  <a:pt x="9289731" y="656356"/>
                </a:lnTo>
                <a:lnTo>
                  <a:pt x="9293723" y="656237"/>
                </a:lnTo>
                <a:lnTo>
                  <a:pt x="9303097" y="656723"/>
                </a:lnTo>
                <a:lnTo>
                  <a:pt x="9302251" y="652725"/>
                </a:lnTo>
                <a:cubicBezTo>
                  <a:pt x="9300561" y="648869"/>
                  <a:pt x="9299408" y="644676"/>
                  <a:pt x="9314122" y="645860"/>
                </a:cubicBezTo>
                <a:cubicBezTo>
                  <a:pt x="9344433" y="650204"/>
                  <a:pt x="9356229" y="634440"/>
                  <a:pt x="9367772" y="650683"/>
                </a:cubicBezTo>
                <a:lnTo>
                  <a:pt x="9370291" y="655264"/>
                </a:lnTo>
                <a:lnTo>
                  <a:pt x="9377007" y="656308"/>
                </a:lnTo>
                <a:cubicBezTo>
                  <a:pt x="9380660" y="656340"/>
                  <a:pt x="9382824" y="655350"/>
                  <a:pt x="9382497" y="652427"/>
                </a:cubicBezTo>
                <a:cubicBezTo>
                  <a:pt x="9410043" y="665739"/>
                  <a:pt x="9444726" y="648939"/>
                  <a:pt x="9474013" y="647005"/>
                </a:cubicBezTo>
                <a:cubicBezTo>
                  <a:pt x="9494765" y="659508"/>
                  <a:pt x="9535746" y="643122"/>
                  <a:pt x="9595899" y="646979"/>
                </a:cubicBezTo>
                <a:cubicBezTo>
                  <a:pt x="9618462" y="661284"/>
                  <a:pt x="9636478" y="649421"/>
                  <a:pt x="9681269" y="669984"/>
                </a:cubicBezTo>
                <a:cubicBezTo>
                  <a:pt x="9683619" y="668616"/>
                  <a:pt x="9686437" y="667412"/>
                  <a:pt x="9689635" y="666408"/>
                </a:cubicBezTo>
                <a:cubicBezTo>
                  <a:pt x="9708219" y="660578"/>
                  <a:pt x="9735343" y="662659"/>
                  <a:pt x="9750215" y="671056"/>
                </a:cubicBezTo>
                <a:cubicBezTo>
                  <a:pt x="9822560" y="699676"/>
                  <a:pt x="9892985" y="704863"/>
                  <a:pt x="9957974" y="715080"/>
                </a:cubicBezTo>
                <a:cubicBezTo>
                  <a:pt x="10031995" y="724171"/>
                  <a:pt x="9987651" y="694466"/>
                  <a:pt x="10076482" y="723397"/>
                </a:cubicBezTo>
                <a:cubicBezTo>
                  <a:pt x="10088264" y="715403"/>
                  <a:pt x="10100170" y="715974"/>
                  <a:pt x="10119263" y="721877"/>
                </a:cubicBezTo>
                <a:cubicBezTo>
                  <a:pt x="10155360" y="725633"/>
                  <a:pt x="10156886" y="703170"/>
                  <a:pt x="10190893" y="719606"/>
                </a:cubicBezTo>
                <a:cubicBezTo>
                  <a:pt x="10186651" y="707114"/>
                  <a:pt x="10260542" y="720706"/>
                  <a:pt x="10246203" y="706893"/>
                </a:cubicBezTo>
                <a:cubicBezTo>
                  <a:pt x="10271921" y="697978"/>
                  <a:pt x="10280122" y="716866"/>
                  <a:pt x="10305396" y="709359"/>
                </a:cubicBezTo>
                <a:cubicBezTo>
                  <a:pt x="10332266" y="709354"/>
                  <a:pt x="10287753" y="720864"/>
                  <a:pt x="10316856" y="724179"/>
                </a:cubicBezTo>
                <a:cubicBezTo>
                  <a:pt x="10352558" y="726042"/>
                  <a:pt x="10348261" y="747938"/>
                  <a:pt x="10380919" y="722193"/>
                </a:cubicBezTo>
                <a:cubicBezTo>
                  <a:pt x="10416787" y="731946"/>
                  <a:pt x="10426384" y="719959"/>
                  <a:pt x="10478351" y="717620"/>
                </a:cubicBezTo>
                <a:cubicBezTo>
                  <a:pt x="10498311" y="726260"/>
                  <a:pt x="10516018" y="724144"/>
                  <a:pt x="10533954" y="718660"/>
                </a:cubicBezTo>
                <a:cubicBezTo>
                  <a:pt x="10583102" y="724237"/>
                  <a:pt x="10630104" y="717410"/>
                  <a:pt x="10686474" y="717507"/>
                </a:cubicBezTo>
                <a:cubicBezTo>
                  <a:pt x="10745160" y="730015"/>
                  <a:pt x="10779502" y="713124"/>
                  <a:pt x="10839729" y="713306"/>
                </a:cubicBezTo>
                <a:cubicBezTo>
                  <a:pt x="10895292" y="735596"/>
                  <a:pt x="10883335" y="689293"/>
                  <a:pt x="10933271" y="693628"/>
                </a:cubicBezTo>
                <a:cubicBezTo>
                  <a:pt x="11011861" y="715600"/>
                  <a:pt x="10933941" y="678563"/>
                  <a:pt x="11058950" y="692031"/>
                </a:cubicBezTo>
                <a:cubicBezTo>
                  <a:pt x="11065574" y="695312"/>
                  <a:pt x="11081347" y="693264"/>
                  <a:pt x="11080388" y="689245"/>
                </a:cubicBezTo>
                <a:cubicBezTo>
                  <a:pt x="11088176" y="690921"/>
                  <a:pt x="11106032" y="699551"/>
                  <a:pt x="11108911" y="693363"/>
                </a:cubicBezTo>
                <a:cubicBezTo>
                  <a:pt x="11149149" y="694912"/>
                  <a:pt x="11188483" y="700869"/>
                  <a:pt x="11223119" y="710661"/>
                </a:cubicBezTo>
                <a:cubicBezTo>
                  <a:pt x="11302059" y="704266"/>
                  <a:pt x="11255617" y="731239"/>
                  <a:pt x="11311983" y="731410"/>
                </a:cubicBezTo>
                <a:cubicBezTo>
                  <a:pt x="11358665" y="721567"/>
                  <a:pt x="11373894" y="732638"/>
                  <a:pt x="11426940" y="727340"/>
                </a:cubicBezTo>
                <a:cubicBezTo>
                  <a:pt x="11441993" y="748767"/>
                  <a:pt x="11476074" y="727962"/>
                  <a:pt x="11495624" y="734858"/>
                </a:cubicBezTo>
                <a:cubicBezTo>
                  <a:pt x="11530841" y="712823"/>
                  <a:pt x="11572173" y="761025"/>
                  <a:pt x="11605975" y="762433"/>
                </a:cubicBezTo>
                <a:cubicBezTo>
                  <a:pt x="11663316" y="761143"/>
                  <a:pt x="11727635" y="739871"/>
                  <a:pt x="11756134" y="765012"/>
                </a:cubicBezTo>
                <a:cubicBezTo>
                  <a:pt x="11761348" y="755468"/>
                  <a:pt x="11757526" y="741943"/>
                  <a:pt x="11789788" y="745316"/>
                </a:cubicBezTo>
                <a:cubicBezTo>
                  <a:pt x="11803253" y="740995"/>
                  <a:pt x="11807074" y="726138"/>
                  <a:pt x="11832833" y="734720"/>
                </a:cubicBezTo>
                <a:cubicBezTo>
                  <a:pt x="11798846" y="746443"/>
                  <a:pt x="11852821" y="750721"/>
                  <a:pt x="11846338" y="765994"/>
                </a:cubicBezTo>
                <a:cubicBezTo>
                  <a:pt x="11885947" y="777555"/>
                  <a:pt x="11979991" y="768560"/>
                  <a:pt x="11972492" y="796180"/>
                </a:cubicBezTo>
                <a:cubicBezTo>
                  <a:pt x="11982931" y="813135"/>
                  <a:pt x="12037186" y="790090"/>
                  <a:pt x="12035979" y="807835"/>
                </a:cubicBezTo>
                <a:cubicBezTo>
                  <a:pt x="12059694" y="797410"/>
                  <a:pt x="12098516" y="817951"/>
                  <a:pt x="12135850" y="819056"/>
                </a:cubicBezTo>
                <a:cubicBezTo>
                  <a:pt x="12142309" y="827359"/>
                  <a:pt x="12150917" y="827343"/>
                  <a:pt x="12166092" y="823695"/>
                </a:cubicBezTo>
                <a:lnTo>
                  <a:pt x="12190645" y="826863"/>
                </a:lnTo>
                <a:lnTo>
                  <a:pt x="12192000" y="880762"/>
                </a:lnTo>
                <a:lnTo>
                  <a:pt x="12192000" y="2685062"/>
                </a:lnTo>
                <a:lnTo>
                  <a:pt x="0" y="2685062"/>
                </a:lnTo>
                <a:lnTo>
                  <a:pt x="0" y="283917"/>
                </a:lnTo>
                <a:lnTo>
                  <a:pt x="44213" y="302297"/>
                </a:lnTo>
                <a:cubicBezTo>
                  <a:pt x="57125" y="321111"/>
                  <a:pt x="151150" y="310991"/>
                  <a:pt x="172465" y="314866"/>
                </a:cubicBezTo>
                <a:cubicBezTo>
                  <a:pt x="201883" y="307918"/>
                  <a:pt x="192551" y="309357"/>
                  <a:pt x="223361" y="304828"/>
                </a:cubicBezTo>
                <a:cubicBezTo>
                  <a:pt x="235273" y="283233"/>
                  <a:pt x="290082" y="292239"/>
                  <a:pt x="320595" y="288341"/>
                </a:cubicBezTo>
                <a:cubicBezTo>
                  <a:pt x="326821" y="269140"/>
                  <a:pt x="347105" y="264031"/>
                  <a:pt x="401087" y="246745"/>
                </a:cubicBezTo>
                <a:cubicBezTo>
                  <a:pt x="407068" y="225028"/>
                  <a:pt x="475269" y="251137"/>
                  <a:pt x="495839" y="217305"/>
                </a:cubicBezTo>
                <a:cubicBezTo>
                  <a:pt x="499633" y="218429"/>
                  <a:pt x="503698" y="219260"/>
                  <a:pt x="507910" y="219773"/>
                </a:cubicBezTo>
                <a:cubicBezTo>
                  <a:pt x="532375" y="222751"/>
                  <a:pt x="556339" y="214552"/>
                  <a:pt x="561428" y="201460"/>
                </a:cubicBezTo>
                <a:cubicBezTo>
                  <a:pt x="599747" y="152259"/>
                  <a:pt x="661201" y="177254"/>
                  <a:pt x="712813" y="151411"/>
                </a:cubicBezTo>
                <a:cubicBezTo>
                  <a:pt x="774420" y="124993"/>
                  <a:pt x="765426" y="123535"/>
                  <a:pt x="819366" y="70479"/>
                </a:cubicBezTo>
                <a:cubicBezTo>
                  <a:pt x="839647" y="77460"/>
                  <a:pt x="850544" y="74267"/>
                  <a:pt x="862489" y="63238"/>
                </a:cubicBezTo>
                <a:cubicBezTo>
                  <a:pt x="893284" y="51157"/>
                  <a:pt x="919686" y="77447"/>
                  <a:pt x="934387" y="50788"/>
                </a:cubicBezTo>
                <a:cubicBezTo>
                  <a:pt x="936825" y="54711"/>
                  <a:pt x="942184" y="55671"/>
                  <a:pt x="948874" y="55208"/>
                </a:cubicBezTo>
                <a:lnTo>
                  <a:pt x="955237" y="54040"/>
                </a:lnTo>
                <a:lnTo>
                  <a:pt x="955886" y="54325"/>
                </a:lnTo>
                <a:lnTo>
                  <a:pt x="957239" y="53673"/>
                </a:lnTo>
                <a:lnTo>
                  <a:pt x="971343" y="51086"/>
                </a:lnTo>
                <a:cubicBezTo>
                  <a:pt x="986863" y="47540"/>
                  <a:pt x="1001346" y="44460"/>
                  <a:pt x="1002063" y="54158"/>
                </a:cubicBezTo>
                <a:cubicBezTo>
                  <a:pt x="1010763" y="55438"/>
                  <a:pt x="1016476" y="54893"/>
                  <a:pt x="1020663" y="53408"/>
                </a:cubicBezTo>
                <a:cubicBezTo>
                  <a:pt x="1029036" y="50440"/>
                  <a:pt x="1031306" y="43717"/>
                  <a:pt x="1039181" y="40356"/>
                </a:cubicBezTo>
                <a:lnTo>
                  <a:pt x="1051914" y="39166"/>
                </a:lnTo>
                <a:lnTo>
                  <a:pt x="1054501" y="37372"/>
                </a:lnTo>
                <a:lnTo>
                  <a:pt x="1061859" y="33902"/>
                </a:lnTo>
                <a:lnTo>
                  <a:pt x="1054558" y="30385"/>
                </a:lnTo>
                <a:cubicBezTo>
                  <a:pt x="1046905" y="27358"/>
                  <a:pt x="1128596" y="22367"/>
                  <a:pt x="1140852" y="17327"/>
                </a:cubicBezTo>
                <a:lnTo>
                  <a:pt x="1214144" y="6192"/>
                </a:lnTo>
                <a:lnTo>
                  <a:pt x="1338122" y="27996"/>
                </a:lnTo>
                <a:cubicBezTo>
                  <a:pt x="1367144" y="1801"/>
                  <a:pt x="1432673" y="14019"/>
                  <a:pt x="1462415" y="0"/>
                </a:cubicBezTo>
                <a:close/>
              </a:path>
            </a:pathLst>
          </a:cu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a:extLst>
              <a:ext uri="{FF2B5EF4-FFF2-40B4-BE49-F238E27FC236}">
                <a16:creationId xmlns:a16="http://schemas.microsoft.com/office/drawing/2014/main" id="{9FA3DAB3-4415-CEDE-F1F7-B930B0F0C8E7}"/>
              </a:ext>
            </a:extLst>
          </p:cNvPr>
          <p:cNvSpPr>
            <a:spLocks noGrp="1"/>
          </p:cNvSpPr>
          <p:nvPr>
            <p:ph type="title"/>
          </p:nvPr>
        </p:nvSpPr>
        <p:spPr>
          <a:xfrm>
            <a:off x="810240" y="5254652"/>
            <a:ext cx="10723626" cy="856722"/>
          </a:xfrm>
        </p:spPr>
        <p:txBody>
          <a:bodyPr vert="horz" lIns="91440" tIns="45720" rIns="91440" bIns="45720" rtlCol="0" anchor="b">
            <a:normAutofit/>
          </a:bodyPr>
          <a:lstStyle/>
          <a:p>
            <a:r>
              <a:rPr lang="en-US" sz="2400" b="1" dirty="0">
                <a:solidFill>
                  <a:srgbClr val="C00000"/>
                </a:solidFill>
                <a:latin typeface="+mn-lt"/>
              </a:rPr>
              <a:t>Vibmer Muhendislik </a:t>
            </a:r>
            <a:r>
              <a:rPr lang="tr-TR" sz="2400" dirty="0">
                <a:solidFill>
                  <a:schemeClr val="tx1">
                    <a:lumMod val="85000"/>
                    <a:lumOff val="15000"/>
                  </a:schemeClr>
                </a:solidFill>
                <a:latin typeface="+mn-lt"/>
              </a:rPr>
              <a:t>ve</a:t>
            </a:r>
            <a:r>
              <a:rPr lang="tr-TR" sz="2400" b="1" dirty="0">
                <a:solidFill>
                  <a:schemeClr val="tx1">
                    <a:lumMod val="85000"/>
                    <a:lumOff val="15000"/>
                  </a:schemeClr>
                </a:solidFill>
                <a:latin typeface="+mn-lt"/>
              </a:rPr>
              <a:t> </a:t>
            </a:r>
            <a:r>
              <a:rPr lang="tr-TR" sz="2400" b="1" dirty="0" err="1">
                <a:solidFill>
                  <a:srgbClr val="00B050"/>
                </a:solidFill>
                <a:latin typeface="+mn-lt"/>
              </a:rPr>
              <a:t>Schaeffler</a:t>
            </a:r>
            <a:r>
              <a:rPr lang="tr-TR" sz="2400" b="1" dirty="0">
                <a:solidFill>
                  <a:schemeClr val="tx1">
                    <a:lumMod val="85000"/>
                    <a:lumOff val="15000"/>
                  </a:schemeClr>
                </a:solidFill>
                <a:latin typeface="+mn-lt"/>
              </a:rPr>
              <a:t> </a:t>
            </a:r>
            <a:r>
              <a:rPr lang="en-US" sz="2400" dirty="0" err="1">
                <a:solidFill>
                  <a:schemeClr val="tx1">
                    <a:lumMod val="85000"/>
                    <a:lumOff val="15000"/>
                  </a:schemeClr>
                </a:solidFill>
                <a:latin typeface="+mn-lt"/>
              </a:rPr>
              <a:t>olarak</a:t>
            </a:r>
            <a:r>
              <a:rPr lang="en-US" sz="2400" dirty="0">
                <a:solidFill>
                  <a:schemeClr val="tx1">
                    <a:lumMod val="85000"/>
                    <a:lumOff val="15000"/>
                  </a:schemeClr>
                </a:solidFill>
                <a:latin typeface="+mn-lt"/>
              </a:rPr>
              <a:t> </a:t>
            </a:r>
            <a:r>
              <a:rPr lang="en-US" sz="2400" dirty="0" err="1">
                <a:solidFill>
                  <a:schemeClr val="tx1">
                    <a:lumMod val="85000"/>
                    <a:lumOff val="15000"/>
                  </a:schemeClr>
                </a:solidFill>
                <a:latin typeface="+mn-lt"/>
              </a:rPr>
              <a:t>işletmelerin</a:t>
            </a:r>
            <a:r>
              <a:rPr lang="tr-TR" sz="2400" dirty="0">
                <a:solidFill>
                  <a:schemeClr val="tx1">
                    <a:lumMod val="85000"/>
                    <a:lumOff val="15000"/>
                  </a:schemeClr>
                </a:solidFill>
                <a:latin typeface="+mn-lt"/>
              </a:rPr>
              <a:t>izin</a:t>
            </a:r>
            <a:r>
              <a:rPr lang="en-US" sz="2400" dirty="0">
                <a:solidFill>
                  <a:schemeClr val="tx1">
                    <a:lumMod val="85000"/>
                    <a:lumOff val="15000"/>
                  </a:schemeClr>
                </a:solidFill>
                <a:latin typeface="+mn-lt"/>
              </a:rPr>
              <a:t> </a:t>
            </a:r>
            <a:r>
              <a:rPr lang="en-US" sz="2400" b="1" dirty="0" err="1">
                <a:solidFill>
                  <a:srgbClr val="0070C0"/>
                </a:solidFill>
                <a:latin typeface="+mn-lt"/>
              </a:rPr>
              <a:t>Bakım</a:t>
            </a:r>
            <a:r>
              <a:rPr lang="en-US" sz="2400" b="1" dirty="0">
                <a:solidFill>
                  <a:srgbClr val="0070C0"/>
                </a:solidFill>
                <a:latin typeface="+mn-lt"/>
              </a:rPr>
              <a:t> 4.0 </a:t>
            </a:r>
            <a:r>
              <a:rPr lang="en-US" sz="2400" dirty="0" err="1">
                <a:solidFill>
                  <a:schemeClr val="tx1">
                    <a:lumMod val="85000"/>
                    <a:lumOff val="15000"/>
                  </a:schemeClr>
                </a:solidFill>
                <a:latin typeface="+mn-lt"/>
              </a:rPr>
              <a:t>kapsamında</a:t>
            </a:r>
            <a:r>
              <a:rPr lang="en-US" sz="2400" dirty="0">
                <a:solidFill>
                  <a:schemeClr val="tx1">
                    <a:lumMod val="85000"/>
                    <a:lumOff val="15000"/>
                  </a:schemeClr>
                </a:solidFill>
                <a:latin typeface="+mn-lt"/>
              </a:rPr>
              <a:t> </a:t>
            </a:r>
            <a:r>
              <a:rPr lang="en-US" sz="2400" dirty="0" err="1">
                <a:solidFill>
                  <a:schemeClr val="tx1">
                    <a:lumMod val="85000"/>
                    <a:lumOff val="15000"/>
                  </a:schemeClr>
                </a:solidFill>
                <a:latin typeface="+mn-lt"/>
              </a:rPr>
              <a:t>akıllı</a:t>
            </a:r>
            <a:r>
              <a:rPr lang="en-US" sz="2400" dirty="0">
                <a:solidFill>
                  <a:schemeClr val="tx1">
                    <a:lumMod val="85000"/>
                    <a:lumOff val="15000"/>
                  </a:schemeClr>
                </a:solidFill>
                <a:latin typeface="+mn-lt"/>
              </a:rPr>
              <a:t> </a:t>
            </a:r>
            <a:r>
              <a:rPr lang="en-US" sz="2400" dirty="0" err="1">
                <a:solidFill>
                  <a:schemeClr val="tx1">
                    <a:lumMod val="85000"/>
                    <a:lumOff val="15000"/>
                  </a:schemeClr>
                </a:solidFill>
                <a:latin typeface="+mn-lt"/>
              </a:rPr>
              <a:t>ve</a:t>
            </a:r>
            <a:r>
              <a:rPr lang="en-US" sz="2400" dirty="0">
                <a:solidFill>
                  <a:schemeClr val="tx1">
                    <a:lumMod val="85000"/>
                    <a:lumOff val="15000"/>
                  </a:schemeClr>
                </a:solidFill>
                <a:latin typeface="+mn-lt"/>
              </a:rPr>
              <a:t> </a:t>
            </a:r>
            <a:r>
              <a:rPr lang="en-US" sz="2400" dirty="0" err="1">
                <a:solidFill>
                  <a:schemeClr val="tx1">
                    <a:lumMod val="85000"/>
                    <a:lumOff val="15000"/>
                  </a:schemeClr>
                </a:solidFill>
                <a:latin typeface="+mn-lt"/>
              </a:rPr>
              <a:t>dijital</a:t>
            </a:r>
            <a:r>
              <a:rPr lang="en-US" sz="2400" dirty="0">
                <a:solidFill>
                  <a:schemeClr val="tx1">
                    <a:lumMod val="85000"/>
                    <a:lumOff val="15000"/>
                  </a:schemeClr>
                </a:solidFill>
                <a:latin typeface="+mn-lt"/>
              </a:rPr>
              <a:t> </a:t>
            </a:r>
            <a:r>
              <a:rPr lang="en-US" sz="2400" dirty="0" err="1">
                <a:solidFill>
                  <a:schemeClr val="tx1">
                    <a:lumMod val="85000"/>
                    <a:lumOff val="15000"/>
                  </a:schemeClr>
                </a:solidFill>
                <a:latin typeface="+mn-lt"/>
              </a:rPr>
              <a:t>fabrikalara</a:t>
            </a:r>
            <a:r>
              <a:rPr lang="en-US" sz="2400" dirty="0">
                <a:solidFill>
                  <a:schemeClr val="tx1">
                    <a:lumMod val="85000"/>
                    <a:lumOff val="15000"/>
                  </a:schemeClr>
                </a:solidFill>
                <a:latin typeface="+mn-lt"/>
              </a:rPr>
              <a:t> </a:t>
            </a:r>
            <a:r>
              <a:rPr lang="en-US" sz="2400" dirty="0" err="1">
                <a:solidFill>
                  <a:schemeClr val="tx1">
                    <a:lumMod val="85000"/>
                    <a:lumOff val="15000"/>
                  </a:schemeClr>
                </a:solidFill>
                <a:latin typeface="+mn-lt"/>
              </a:rPr>
              <a:t>dönüştürülmesine</a:t>
            </a:r>
            <a:r>
              <a:rPr lang="en-US" sz="2400" dirty="0">
                <a:solidFill>
                  <a:schemeClr val="tx1">
                    <a:lumMod val="85000"/>
                    <a:lumOff val="15000"/>
                  </a:schemeClr>
                </a:solidFill>
                <a:latin typeface="+mn-lt"/>
              </a:rPr>
              <a:t> </a:t>
            </a:r>
            <a:r>
              <a:rPr lang="en-US" sz="2400" dirty="0" err="1">
                <a:solidFill>
                  <a:schemeClr val="tx1">
                    <a:lumMod val="85000"/>
                    <a:lumOff val="15000"/>
                  </a:schemeClr>
                </a:solidFill>
                <a:latin typeface="+mn-lt"/>
              </a:rPr>
              <a:t>talibiz</a:t>
            </a:r>
            <a:r>
              <a:rPr lang="en-US" sz="2400" dirty="0">
                <a:solidFill>
                  <a:schemeClr val="tx1">
                    <a:lumMod val="85000"/>
                    <a:lumOff val="15000"/>
                  </a:schemeClr>
                </a:solidFill>
                <a:latin typeface="+mn-lt"/>
              </a:rPr>
              <a:t>. </a:t>
            </a:r>
          </a:p>
        </p:txBody>
      </p:sp>
      <p:pic>
        <p:nvPicPr>
          <p:cNvPr id="6" name="Resim 5" descr="metin, logo içeren bir resim&#10;&#10;Açıklama otomatik olarak oluşturuldu">
            <a:extLst>
              <a:ext uri="{FF2B5EF4-FFF2-40B4-BE49-F238E27FC236}">
                <a16:creationId xmlns:a16="http://schemas.microsoft.com/office/drawing/2014/main" id="{AA6E1D49-B362-38BD-A763-25C07AEF42F1}"/>
              </a:ext>
            </a:extLst>
          </p:cNvPr>
          <p:cNvPicPr>
            <a:picLocks noChangeAspect="1"/>
          </p:cNvPicPr>
          <p:nvPr/>
        </p:nvPicPr>
        <p:blipFill>
          <a:blip r:embed="rId2"/>
          <a:stretch>
            <a:fillRect/>
          </a:stretch>
        </p:blipFill>
        <p:spPr>
          <a:xfrm>
            <a:off x="8264526" y="2106671"/>
            <a:ext cx="3027384" cy="703866"/>
          </a:xfrm>
          <a:prstGeom prst="rect">
            <a:avLst/>
          </a:prstGeom>
        </p:spPr>
      </p:pic>
      <p:pic>
        <p:nvPicPr>
          <p:cNvPr id="8" name="Resim 7" descr="metin, elektronik donanım içeren bir resim&#10;&#10;Açıklama otomatik olarak oluşturuldu">
            <a:extLst>
              <a:ext uri="{FF2B5EF4-FFF2-40B4-BE49-F238E27FC236}">
                <a16:creationId xmlns:a16="http://schemas.microsoft.com/office/drawing/2014/main" id="{967E8B47-9106-55FA-0938-A188D6E99D0E}"/>
              </a:ext>
            </a:extLst>
          </p:cNvPr>
          <p:cNvPicPr>
            <a:picLocks noChangeAspect="1"/>
          </p:cNvPicPr>
          <p:nvPr/>
        </p:nvPicPr>
        <p:blipFill rotWithShape="1">
          <a:blip r:embed="rId3"/>
          <a:srcRect l="10924" t="4286" r="8572" b="13928"/>
          <a:stretch/>
        </p:blipFill>
        <p:spPr>
          <a:xfrm>
            <a:off x="4614834" y="1330102"/>
            <a:ext cx="3026664" cy="2198524"/>
          </a:xfrm>
          <a:prstGeom prst="rect">
            <a:avLst/>
          </a:prstGeom>
        </p:spPr>
      </p:pic>
      <p:pic>
        <p:nvPicPr>
          <p:cNvPr id="5" name="Resim 4" descr="logo içeren bir resim&#10;&#10;Açıklama otomatik olarak oluşturuldu">
            <a:extLst>
              <a:ext uri="{FF2B5EF4-FFF2-40B4-BE49-F238E27FC236}">
                <a16:creationId xmlns:a16="http://schemas.microsoft.com/office/drawing/2014/main" id="{BDDC063E-A93E-9638-247A-7646BCDE6D63}"/>
              </a:ext>
            </a:extLst>
          </p:cNvPr>
          <p:cNvPicPr>
            <a:picLocks noChangeAspect="1"/>
          </p:cNvPicPr>
          <p:nvPr/>
        </p:nvPicPr>
        <p:blipFill>
          <a:blip r:embed="rId4"/>
          <a:stretch>
            <a:fillRect/>
          </a:stretch>
        </p:blipFill>
        <p:spPr>
          <a:xfrm>
            <a:off x="810240" y="1974338"/>
            <a:ext cx="3026664" cy="968533"/>
          </a:xfrm>
          <a:prstGeom prst="rect">
            <a:avLst/>
          </a:prstGeom>
          <a:solidFill>
            <a:schemeClr val="bg1"/>
          </a:solidFill>
        </p:spPr>
      </p:pic>
    </p:spTree>
    <p:extLst>
      <p:ext uri="{BB962C8B-B14F-4D97-AF65-F5344CB8AC3E}">
        <p14:creationId xmlns:p14="http://schemas.microsoft.com/office/powerpoint/2010/main" val="96304678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etin kutusu 2">
            <a:extLst>
              <a:ext uri="{FF2B5EF4-FFF2-40B4-BE49-F238E27FC236}">
                <a16:creationId xmlns:a16="http://schemas.microsoft.com/office/drawing/2014/main" id="{8F41082D-3A22-48EB-8AB7-C768D2B298C5}"/>
              </a:ext>
            </a:extLst>
          </p:cNvPr>
          <p:cNvSpPr txBox="1"/>
          <p:nvPr/>
        </p:nvSpPr>
        <p:spPr>
          <a:xfrm>
            <a:off x="4457390" y="3200400"/>
            <a:ext cx="3275996" cy="1200329"/>
          </a:xfrm>
          <a:prstGeom prst="rect">
            <a:avLst/>
          </a:prstGeom>
          <a:solidFill>
            <a:srgbClr val="00B050"/>
          </a:solidFill>
        </p:spPr>
        <p:txBody>
          <a:bodyPr wrap="square" rtlCol="0">
            <a:spAutoFit/>
          </a:bodyPr>
          <a:lstStyle/>
          <a:p>
            <a:pPr algn="ctr"/>
            <a:r>
              <a:rPr lang="tr-TR" sz="3600" b="1" dirty="0">
                <a:solidFill>
                  <a:schemeClr val="bg1"/>
                </a:solidFill>
              </a:rPr>
              <a:t>MACHINE </a:t>
            </a:r>
          </a:p>
          <a:p>
            <a:pPr algn="ctr"/>
            <a:r>
              <a:rPr lang="tr-TR" sz="3600" b="1" dirty="0">
                <a:solidFill>
                  <a:schemeClr val="bg1"/>
                </a:solidFill>
              </a:rPr>
              <a:t>LEARNING</a:t>
            </a:r>
          </a:p>
        </p:txBody>
      </p:sp>
      <p:sp>
        <p:nvSpPr>
          <p:cNvPr id="2" name="Textplatzhalter 2">
            <a:extLst>
              <a:ext uri="{FF2B5EF4-FFF2-40B4-BE49-F238E27FC236}">
                <a16:creationId xmlns:a16="http://schemas.microsoft.com/office/drawing/2014/main" id="{0D91207E-582F-21EB-BAB2-592142E06230}"/>
              </a:ext>
            </a:extLst>
          </p:cNvPr>
          <p:cNvSpPr txBox="1">
            <a:spLocks/>
          </p:cNvSpPr>
          <p:nvPr>
            <p:custDataLst>
              <p:tags r:id="rId1"/>
            </p:custDataLst>
          </p:nvPr>
        </p:nvSpPr>
        <p:spPr bwMode="gray">
          <a:xfrm>
            <a:off x="131891" y="3200400"/>
            <a:ext cx="3275996" cy="1295400"/>
          </a:xfrm>
          <a:prstGeom prst="rect">
            <a:avLst/>
          </a:prstGeom>
          <a:solidFill>
            <a:schemeClr val="accent3">
              <a:lumMod val="40000"/>
              <a:lumOff val="60000"/>
            </a:schemeClr>
          </a:solidFill>
          <a:ln>
            <a:solidFill>
              <a:schemeClr val="accent3">
                <a:lumMod val="40000"/>
                <a:lumOff val="60000"/>
              </a:schemeClr>
            </a:solidFill>
          </a:ln>
        </p:spPr>
        <p:txBody>
          <a:bodyPr vert="horz" lIns="0" tIns="0" rIns="0" bIns="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spcAft>
                <a:spcPts val="0"/>
              </a:spcAft>
              <a:buClr>
                <a:schemeClr val="tx1"/>
              </a:buClr>
              <a:buSzPct val="110000"/>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algn="ctr">
              <a:lnSpc>
                <a:spcPct val="90000"/>
              </a:lnSpc>
              <a:spcBef>
                <a:spcPts val="0"/>
              </a:spcBef>
            </a:pPr>
            <a:r>
              <a:rPr lang="tr-TR" sz="3600" dirty="0"/>
              <a:t>FAILURE ALGORITHMS</a:t>
            </a:r>
            <a:endParaRPr lang="en-US" sz="3600" dirty="0"/>
          </a:p>
        </p:txBody>
      </p:sp>
      <p:sp>
        <p:nvSpPr>
          <p:cNvPr id="5" name="Textplatzhalter 2">
            <a:extLst>
              <a:ext uri="{FF2B5EF4-FFF2-40B4-BE49-F238E27FC236}">
                <a16:creationId xmlns:a16="http://schemas.microsoft.com/office/drawing/2014/main" id="{BC3FDE14-9E68-9E4D-B634-2E6E5D414344}"/>
              </a:ext>
            </a:extLst>
          </p:cNvPr>
          <p:cNvSpPr txBox="1">
            <a:spLocks/>
          </p:cNvSpPr>
          <p:nvPr>
            <p:custDataLst>
              <p:tags r:id="rId2"/>
            </p:custDataLst>
          </p:nvPr>
        </p:nvSpPr>
        <p:spPr bwMode="gray">
          <a:xfrm>
            <a:off x="4461240" y="1143000"/>
            <a:ext cx="3275996" cy="1295395"/>
          </a:xfrm>
          <a:prstGeom prst="rect">
            <a:avLst/>
          </a:prstGeom>
          <a:solidFill>
            <a:schemeClr val="accent3">
              <a:lumMod val="40000"/>
              <a:lumOff val="60000"/>
            </a:schemeClr>
          </a:solidFill>
        </p:spPr>
        <p:txBody>
          <a:bodyPr vert="horz" lIns="0" tIns="0" rIns="0" bIns="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spcAft>
                <a:spcPts val="0"/>
              </a:spcAft>
              <a:buClr>
                <a:schemeClr val="tx1"/>
              </a:buClr>
              <a:buSzPct val="110000"/>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algn="ctr">
              <a:lnSpc>
                <a:spcPct val="90000"/>
              </a:lnSpc>
              <a:spcBef>
                <a:spcPts val="0"/>
              </a:spcBef>
            </a:pPr>
            <a:r>
              <a:rPr lang="tr-TR" sz="3600" dirty="0"/>
              <a:t>ISO 10816</a:t>
            </a:r>
            <a:endParaRPr lang="en-US" sz="3600" dirty="0"/>
          </a:p>
        </p:txBody>
      </p:sp>
      <p:sp>
        <p:nvSpPr>
          <p:cNvPr id="9" name="Textplatzhalter 2">
            <a:extLst>
              <a:ext uri="{FF2B5EF4-FFF2-40B4-BE49-F238E27FC236}">
                <a16:creationId xmlns:a16="http://schemas.microsoft.com/office/drawing/2014/main" id="{9EF803FB-DD7B-8B5D-53FB-5B6819B98D82}"/>
              </a:ext>
            </a:extLst>
          </p:cNvPr>
          <p:cNvSpPr txBox="1">
            <a:spLocks/>
          </p:cNvSpPr>
          <p:nvPr>
            <p:custDataLst>
              <p:tags r:id="rId3"/>
            </p:custDataLst>
          </p:nvPr>
        </p:nvSpPr>
        <p:spPr bwMode="gray">
          <a:xfrm>
            <a:off x="4457435" y="5163952"/>
            <a:ext cx="3279837" cy="1295400"/>
          </a:xfrm>
          <a:prstGeom prst="rect">
            <a:avLst/>
          </a:prstGeom>
          <a:solidFill>
            <a:schemeClr val="accent3">
              <a:lumMod val="40000"/>
              <a:lumOff val="60000"/>
            </a:schemeClr>
          </a:solidFill>
        </p:spPr>
        <p:txBody>
          <a:bodyPr vert="horz" lIns="0" tIns="0" rIns="0" bIns="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spcAft>
                <a:spcPts val="0"/>
              </a:spcAft>
              <a:buClr>
                <a:schemeClr val="tx1"/>
              </a:buClr>
              <a:buSzPct val="110000"/>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algn="ctr">
              <a:lnSpc>
                <a:spcPct val="90000"/>
              </a:lnSpc>
              <a:spcBef>
                <a:spcPts val="0"/>
              </a:spcBef>
            </a:pPr>
            <a:r>
              <a:rPr lang="tr-TR" sz="3600" dirty="0"/>
              <a:t>FAILURE</a:t>
            </a:r>
            <a:r>
              <a:rPr lang="en-US" sz="3600" dirty="0"/>
              <a:t> CASE LIBRARY</a:t>
            </a:r>
            <a:endParaRPr lang="tr-TR" sz="3600" dirty="0"/>
          </a:p>
          <a:p>
            <a:pPr algn="ctr">
              <a:lnSpc>
                <a:spcPct val="90000"/>
              </a:lnSpc>
              <a:spcBef>
                <a:spcPts val="0"/>
              </a:spcBef>
            </a:pPr>
            <a:r>
              <a:rPr lang="tr-TR" sz="3600" baseline="30000" dirty="0"/>
              <a:t>130K</a:t>
            </a:r>
            <a:endParaRPr lang="en-US" sz="3600" baseline="30000" dirty="0"/>
          </a:p>
        </p:txBody>
      </p:sp>
      <p:sp>
        <p:nvSpPr>
          <p:cNvPr id="12" name="Textplatzhalter 2">
            <a:extLst>
              <a:ext uri="{FF2B5EF4-FFF2-40B4-BE49-F238E27FC236}">
                <a16:creationId xmlns:a16="http://schemas.microsoft.com/office/drawing/2014/main" id="{5EFDDEC9-A2EE-AB95-6B97-7DDCDEF036F0}"/>
              </a:ext>
            </a:extLst>
          </p:cNvPr>
          <p:cNvSpPr txBox="1">
            <a:spLocks/>
          </p:cNvSpPr>
          <p:nvPr>
            <p:custDataLst>
              <p:tags r:id="rId4"/>
            </p:custDataLst>
          </p:nvPr>
        </p:nvSpPr>
        <p:spPr bwMode="gray">
          <a:xfrm>
            <a:off x="8766239" y="3200401"/>
            <a:ext cx="3275996" cy="1295399"/>
          </a:xfrm>
          <a:prstGeom prst="rect">
            <a:avLst/>
          </a:prstGeom>
          <a:solidFill>
            <a:schemeClr val="accent3">
              <a:lumMod val="40000"/>
              <a:lumOff val="60000"/>
            </a:schemeClr>
          </a:solidFill>
        </p:spPr>
        <p:txBody>
          <a:bodyPr vert="horz" lIns="0" tIns="0" rIns="0" bIns="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spcAft>
                <a:spcPts val="0"/>
              </a:spcAft>
              <a:buClr>
                <a:schemeClr val="tx1"/>
              </a:buClr>
              <a:buSzPct val="110000"/>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algn="ctr">
              <a:lnSpc>
                <a:spcPct val="90000"/>
              </a:lnSpc>
              <a:spcBef>
                <a:spcPts val="0"/>
              </a:spcBef>
            </a:pPr>
            <a:r>
              <a:rPr lang="en-US" sz="2800" dirty="0"/>
              <a:t>BEARING FAILURES FREQUENCIES</a:t>
            </a:r>
            <a:endParaRPr lang="en-US" sz="1200" b="0" dirty="0"/>
          </a:p>
        </p:txBody>
      </p:sp>
      <p:cxnSp>
        <p:nvCxnSpPr>
          <p:cNvPr id="13" name="Gerader Verbinder 46">
            <a:extLst>
              <a:ext uri="{FF2B5EF4-FFF2-40B4-BE49-F238E27FC236}">
                <a16:creationId xmlns:a16="http://schemas.microsoft.com/office/drawing/2014/main" id="{B32F1C26-13E5-BFF6-206B-978C24E3609B}"/>
              </a:ext>
            </a:extLst>
          </p:cNvPr>
          <p:cNvCxnSpPr>
            <a:cxnSpLocks/>
          </p:cNvCxnSpPr>
          <p:nvPr>
            <p:custDataLst>
              <p:tags r:id="rId5"/>
            </p:custDataLst>
          </p:nvPr>
        </p:nvCxnSpPr>
        <p:spPr bwMode="gray">
          <a:xfrm>
            <a:off x="7733386" y="3831132"/>
            <a:ext cx="994439"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7">
            <a:extLst>
              <a:ext uri="{FF2B5EF4-FFF2-40B4-BE49-F238E27FC236}">
                <a16:creationId xmlns:a16="http://schemas.microsoft.com/office/drawing/2014/main" id="{C06D540E-2791-D775-7D20-0DBEE4D7FB17}"/>
              </a:ext>
            </a:extLst>
          </p:cNvPr>
          <p:cNvCxnSpPr>
            <a:cxnSpLocks/>
          </p:cNvCxnSpPr>
          <p:nvPr>
            <p:custDataLst>
              <p:tags r:id="rId6"/>
            </p:custDataLst>
          </p:nvPr>
        </p:nvCxnSpPr>
        <p:spPr bwMode="gray">
          <a:xfrm>
            <a:off x="3507839" y="3848101"/>
            <a:ext cx="949551"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51">
            <a:extLst>
              <a:ext uri="{FF2B5EF4-FFF2-40B4-BE49-F238E27FC236}">
                <a16:creationId xmlns:a16="http://schemas.microsoft.com/office/drawing/2014/main" id="{BB41ABD2-3A01-18DA-EAF1-7D6F87FD929A}"/>
              </a:ext>
            </a:extLst>
          </p:cNvPr>
          <p:cNvCxnSpPr>
            <a:cxnSpLocks/>
          </p:cNvCxnSpPr>
          <p:nvPr>
            <p:custDataLst>
              <p:tags r:id="rId7"/>
            </p:custDataLst>
          </p:nvPr>
        </p:nvCxnSpPr>
        <p:spPr bwMode="gray">
          <a:xfrm flipH="1">
            <a:off x="6095387" y="2449917"/>
            <a:ext cx="1" cy="6396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42">
            <a:extLst>
              <a:ext uri="{FF2B5EF4-FFF2-40B4-BE49-F238E27FC236}">
                <a16:creationId xmlns:a16="http://schemas.microsoft.com/office/drawing/2014/main" id="{2F524A9E-A6C0-1346-E904-9464C5C7CED8}"/>
              </a:ext>
            </a:extLst>
          </p:cNvPr>
          <p:cNvPicPr>
            <a:picLocks noChangeAspect="1"/>
          </p:cNvPicPr>
          <p:nvPr>
            <p:custDataLst>
              <p:tags r:id="rId8"/>
            </p:custDataLst>
          </p:nvPr>
        </p:nvPicPr>
        <p:blipFill>
          <a:blip r:embed="rId12">
            <a:lum/>
          </a:blip>
          <a:stretch>
            <a:fillRect/>
          </a:stretch>
        </p:blipFill>
        <p:spPr bwMode="gray">
          <a:xfrm>
            <a:off x="8727825" y="321335"/>
            <a:ext cx="3314399" cy="396342"/>
          </a:xfrm>
          <a:prstGeom prst="rect">
            <a:avLst/>
          </a:prstGeom>
          <a:solidFill>
            <a:schemeClr val="bg1"/>
          </a:solidFill>
          <a:ln>
            <a:noFill/>
          </a:ln>
        </p:spPr>
      </p:pic>
      <p:sp>
        <p:nvSpPr>
          <p:cNvPr id="24" name="Metin kutusu 23">
            <a:extLst>
              <a:ext uri="{FF2B5EF4-FFF2-40B4-BE49-F238E27FC236}">
                <a16:creationId xmlns:a16="http://schemas.microsoft.com/office/drawing/2014/main" id="{57367BE4-F6A1-D34B-39BE-68CE028B9310}"/>
              </a:ext>
            </a:extLst>
          </p:cNvPr>
          <p:cNvSpPr txBox="1"/>
          <p:nvPr/>
        </p:nvSpPr>
        <p:spPr>
          <a:xfrm>
            <a:off x="153619" y="319200"/>
            <a:ext cx="3310558" cy="461665"/>
          </a:xfrm>
          <a:prstGeom prst="rect">
            <a:avLst/>
          </a:prstGeom>
          <a:noFill/>
        </p:spPr>
        <p:txBody>
          <a:bodyPr wrap="square" rtlCol="0">
            <a:spAutoFit/>
          </a:bodyPr>
          <a:lstStyle/>
          <a:p>
            <a:r>
              <a:rPr lang="tr-TR" sz="2400" b="1" dirty="0">
                <a:solidFill>
                  <a:srgbClr val="777777"/>
                </a:solidFill>
                <a:latin typeface="Frutiger Cn"/>
              </a:rPr>
              <a:t>MACHINE LEARNING</a:t>
            </a:r>
          </a:p>
        </p:txBody>
      </p:sp>
      <p:cxnSp>
        <p:nvCxnSpPr>
          <p:cNvPr id="45" name="Gerader Verbinder 51">
            <a:extLst>
              <a:ext uri="{FF2B5EF4-FFF2-40B4-BE49-F238E27FC236}">
                <a16:creationId xmlns:a16="http://schemas.microsoft.com/office/drawing/2014/main" id="{AB27EF68-67F2-12E5-CFFB-2A397D259069}"/>
              </a:ext>
            </a:extLst>
          </p:cNvPr>
          <p:cNvCxnSpPr>
            <a:cxnSpLocks/>
          </p:cNvCxnSpPr>
          <p:nvPr>
            <p:custDataLst>
              <p:tags r:id="rId9"/>
            </p:custDataLst>
          </p:nvPr>
        </p:nvCxnSpPr>
        <p:spPr bwMode="gray">
          <a:xfrm flipH="1">
            <a:off x="6087061" y="4428263"/>
            <a:ext cx="1" cy="6396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46" name="Grafik 32">
            <a:extLst>
              <a:ext uri="{FF2B5EF4-FFF2-40B4-BE49-F238E27FC236}">
                <a16:creationId xmlns:a16="http://schemas.microsoft.com/office/drawing/2014/main" id="{983BF93D-CA36-FEC9-DB9A-86D961E139B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66235" y="4724401"/>
            <a:ext cx="3275993" cy="1734952"/>
          </a:xfrm>
          <a:prstGeom prst="rect">
            <a:avLst/>
          </a:prstGeom>
        </p:spPr>
      </p:pic>
      <p:grpSp>
        <p:nvGrpSpPr>
          <p:cNvPr id="47" name="Gruppieren 34">
            <a:extLst>
              <a:ext uri="{FF2B5EF4-FFF2-40B4-BE49-F238E27FC236}">
                <a16:creationId xmlns:a16="http://schemas.microsoft.com/office/drawing/2014/main" id="{BAB23A93-2FDF-2B55-636F-CFB38A814ED5}"/>
              </a:ext>
            </a:extLst>
          </p:cNvPr>
          <p:cNvGrpSpPr/>
          <p:nvPr/>
        </p:nvGrpSpPr>
        <p:grpSpPr>
          <a:xfrm>
            <a:off x="131891" y="1143000"/>
            <a:ext cx="3292646" cy="1946517"/>
            <a:chOff x="538436" y="1642513"/>
            <a:chExt cx="3270435" cy="1665402"/>
          </a:xfrm>
        </p:grpSpPr>
        <p:sp>
          <p:nvSpPr>
            <p:cNvPr id="48" name="Rechteck 36">
              <a:extLst>
                <a:ext uri="{FF2B5EF4-FFF2-40B4-BE49-F238E27FC236}">
                  <a16:creationId xmlns:a16="http://schemas.microsoft.com/office/drawing/2014/main" id="{D723160F-997B-938E-4BDA-EACBAE5CCB7F}"/>
                </a:ext>
              </a:extLst>
            </p:cNvPr>
            <p:cNvSpPr/>
            <p:nvPr/>
          </p:nvSpPr>
          <p:spPr bwMode="gray">
            <a:xfrm>
              <a:off x="538436" y="1642513"/>
              <a:ext cx="3270435" cy="1665402"/>
            </a:xfrm>
            <a:prstGeom prst="rect">
              <a:avLst/>
            </a:prstGeom>
            <a:noFill/>
            <a:ln w="6350" cap="flat" cmpd="sng" algn="ctr">
              <a:solidFill>
                <a:schemeClr val="accent2"/>
              </a:solidFill>
              <a:prstDash val="solid"/>
              <a:miter lim="800000"/>
              <a:headEnd type="none" w="med" len="med"/>
              <a:tailEnd type="none" w="med" len="med"/>
            </a:ln>
            <a:extLst>
              <a:ext uri="{909E8E84-426E-40DD-AFC4-6F175D3DCCD1}">
                <a14:hiddenFill xmlns:a14="http://schemas.microsoft.com/office/drawing/2010/main">
                  <a:solidFill>
                    <a:srgbClr val="E3E3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pic>
          <p:nvPicPr>
            <p:cNvPr id="49" name="Grafik 38">
              <a:extLst>
                <a:ext uri="{FF2B5EF4-FFF2-40B4-BE49-F238E27FC236}">
                  <a16:creationId xmlns:a16="http://schemas.microsoft.com/office/drawing/2014/main" id="{DB9830B3-963C-6621-2DFB-D60BC4F03FEE}"/>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t="7863"/>
            <a:stretch/>
          </p:blipFill>
          <p:spPr>
            <a:xfrm>
              <a:off x="892729" y="1739749"/>
              <a:ext cx="2499740" cy="1535463"/>
            </a:xfrm>
            <a:prstGeom prst="rect">
              <a:avLst/>
            </a:prstGeom>
            <a:solidFill>
              <a:schemeClr val="dk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pic>
      </p:grpSp>
      <p:grpSp>
        <p:nvGrpSpPr>
          <p:cNvPr id="58" name="Gruppieren 25">
            <a:extLst>
              <a:ext uri="{FF2B5EF4-FFF2-40B4-BE49-F238E27FC236}">
                <a16:creationId xmlns:a16="http://schemas.microsoft.com/office/drawing/2014/main" id="{2B3A4DCB-8343-D550-5A44-D5C4D209DAF4}"/>
              </a:ext>
            </a:extLst>
          </p:cNvPr>
          <p:cNvGrpSpPr/>
          <p:nvPr/>
        </p:nvGrpSpPr>
        <p:grpSpPr bwMode="gray">
          <a:xfrm>
            <a:off x="8718860" y="1142999"/>
            <a:ext cx="3314399" cy="1306917"/>
            <a:chOff x="1906111" y="2200642"/>
            <a:chExt cx="8379779" cy="3066611"/>
          </a:xfrm>
        </p:grpSpPr>
        <p:grpSp>
          <p:nvGrpSpPr>
            <p:cNvPr id="59" name="Gruppieren 24">
              <a:extLst>
                <a:ext uri="{FF2B5EF4-FFF2-40B4-BE49-F238E27FC236}">
                  <a16:creationId xmlns:a16="http://schemas.microsoft.com/office/drawing/2014/main" id="{72D3786A-96A5-0AB7-7686-0D1810B20B4A}"/>
                </a:ext>
              </a:extLst>
            </p:cNvPr>
            <p:cNvGrpSpPr/>
            <p:nvPr/>
          </p:nvGrpSpPr>
          <p:grpSpPr bwMode="gray">
            <a:xfrm>
              <a:off x="1906111" y="2794944"/>
              <a:ext cx="8379779" cy="2086495"/>
              <a:chOff x="2862838" y="2467502"/>
              <a:chExt cx="8379779" cy="2086495"/>
            </a:xfrm>
          </p:grpSpPr>
          <p:pic>
            <p:nvPicPr>
              <p:cNvPr id="62" name="Grafik 28">
                <a:extLst>
                  <a:ext uri="{FF2B5EF4-FFF2-40B4-BE49-F238E27FC236}">
                    <a16:creationId xmlns:a16="http://schemas.microsoft.com/office/drawing/2014/main" id="{77760864-ED67-4E50-C201-917D3D0E1AAA}"/>
                  </a:ext>
                </a:extLst>
              </p:cNvPr>
              <p:cNvPicPr>
                <a:picLocks noChangeAspect="1"/>
              </p:cNvPicPr>
              <p:nvPr/>
            </p:nvPicPr>
            <p:blipFill rotWithShape="1">
              <a:blip r:embed="rId15" cstate="print">
                <a:extLst>
                  <a:ext uri="{28A0092B-C50C-407E-A947-70E740481C1C}">
                    <a14:useLocalDpi xmlns:a14="http://schemas.microsoft.com/office/drawing/2010/main"/>
                  </a:ext>
                </a:extLst>
              </a:blip>
              <a:stretch/>
            </p:blipFill>
            <p:spPr bwMode="gray">
              <a:xfrm>
                <a:off x="2862838" y="2467502"/>
                <a:ext cx="4218709" cy="2086495"/>
              </a:xfrm>
              <a:prstGeom prst="rect">
                <a:avLst/>
              </a:prstGeom>
            </p:spPr>
          </p:pic>
          <p:pic>
            <p:nvPicPr>
              <p:cNvPr id="63" name="Grafik 29">
                <a:extLst>
                  <a:ext uri="{FF2B5EF4-FFF2-40B4-BE49-F238E27FC236}">
                    <a16:creationId xmlns:a16="http://schemas.microsoft.com/office/drawing/2014/main" id="{DFC7694D-BF5F-0534-92DB-808D7B8A3389}"/>
                  </a:ext>
                </a:extLst>
              </p:cNvPr>
              <p:cNvPicPr>
                <a:picLocks noChangeAspect="1"/>
              </p:cNvPicPr>
              <p:nvPr/>
            </p:nvPicPr>
            <p:blipFill rotWithShape="1">
              <a:blip r:embed="rId16" cstate="print">
                <a:extLst>
                  <a:ext uri="{28A0092B-C50C-407E-A947-70E740481C1C}">
                    <a14:useLocalDpi xmlns:a14="http://schemas.microsoft.com/office/drawing/2010/main"/>
                  </a:ext>
                </a:extLst>
              </a:blip>
              <a:stretch/>
            </p:blipFill>
            <p:spPr bwMode="gray">
              <a:xfrm>
                <a:off x="6968517" y="2550390"/>
                <a:ext cx="4274100" cy="1995983"/>
              </a:xfrm>
              <a:prstGeom prst="rect">
                <a:avLst/>
              </a:prstGeom>
            </p:spPr>
          </p:pic>
        </p:grpSp>
        <p:sp>
          <p:nvSpPr>
            <p:cNvPr id="60" name="Freeform 9">
              <a:extLst>
                <a:ext uri="{FF2B5EF4-FFF2-40B4-BE49-F238E27FC236}">
                  <a16:creationId xmlns:a16="http://schemas.microsoft.com/office/drawing/2014/main" id="{85E66DF4-B14F-40B4-0B5F-5A50512382B0}"/>
                </a:ext>
              </a:extLst>
            </p:cNvPr>
            <p:cNvSpPr>
              <a:spLocks/>
            </p:cNvSpPr>
            <p:nvPr/>
          </p:nvSpPr>
          <p:spPr bwMode="gray">
            <a:xfrm>
              <a:off x="3050541" y="2200642"/>
              <a:ext cx="1096157" cy="1022746"/>
            </a:xfrm>
            <a:custGeom>
              <a:avLst/>
              <a:gdLst>
                <a:gd name="T0" fmla="*/ 299 w 369"/>
                <a:gd name="T1" fmla="*/ 339 h 344"/>
                <a:gd name="T2" fmla="*/ 366 w 369"/>
                <a:gd name="T3" fmla="*/ 252 h 344"/>
                <a:gd name="T4" fmla="*/ 355 w 369"/>
                <a:gd name="T5" fmla="*/ 213 h 344"/>
                <a:gd name="T6" fmla="*/ 319 w 369"/>
                <a:gd name="T7" fmla="*/ 144 h 344"/>
                <a:gd name="T8" fmla="*/ 254 w 369"/>
                <a:gd name="T9" fmla="*/ 39 h 344"/>
                <a:gd name="T10" fmla="*/ 191 w 369"/>
                <a:gd name="T11" fmla="*/ 2 h 344"/>
                <a:gd name="T12" fmla="*/ 110 w 369"/>
                <a:gd name="T13" fmla="*/ 42 h 344"/>
                <a:gd name="T14" fmla="*/ 11 w 369"/>
                <a:gd name="T15" fmla="*/ 213 h 344"/>
                <a:gd name="T16" fmla="*/ 4 w 369"/>
                <a:gd name="T17" fmla="*/ 269 h 344"/>
                <a:gd name="T18" fmla="*/ 94 w 369"/>
                <a:gd name="T19" fmla="*/ 343 h 344"/>
                <a:gd name="T20" fmla="*/ 123 w 369"/>
                <a:gd name="T21" fmla="*/ 344 h 344"/>
                <a:gd name="T22" fmla="*/ 238 w 369"/>
                <a:gd name="T23" fmla="*/ 344 h 344"/>
                <a:gd name="T24" fmla="*/ 265 w 369"/>
                <a:gd name="T25" fmla="*/ 343 h 344"/>
                <a:gd name="T26" fmla="*/ 299 w 369"/>
                <a:gd name="T27" fmla="*/ 3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344">
                  <a:moveTo>
                    <a:pt x="299" y="339"/>
                  </a:moveTo>
                  <a:cubicBezTo>
                    <a:pt x="337" y="331"/>
                    <a:pt x="369" y="289"/>
                    <a:pt x="366" y="252"/>
                  </a:cubicBezTo>
                  <a:cubicBezTo>
                    <a:pt x="365" y="239"/>
                    <a:pt x="361" y="225"/>
                    <a:pt x="355" y="213"/>
                  </a:cubicBezTo>
                  <a:cubicBezTo>
                    <a:pt x="344" y="190"/>
                    <a:pt x="332" y="167"/>
                    <a:pt x="319" y="144"/>
                  </a:cubicBezTo>
                  <a:cubicBezTo>
                    <a:pt x="298" y="109"/>
                    <a:pt x="277" y="73"/>
                    <a:pt x="254" y="39"/>
                  </a:cubicBezTo>
                  <a:cubicBezTo>
                    <a:pt x="239" y="18"/>
                    <a:pt x="218" y="4"/>
                    <a:pt x="191" y="2"/>
                  </a:cubicBezTo>
                  <a:cubicBezTo>
                    <a:pt x="157" y="0"/>
                    <a:pt x="129" y="13"/>
                    <a:pt x="110" y="42"/>
                  </a:cubicBezTo>
                  <a:cubicBezTo>
                    <a:pt x="72" y="96"/>
                    <a:pt x="40" y="154"/>
                    <a:pt x="11" y="213"/>
                  </a:cubicBezTo>
                  <a:cubicBezTo>
                    <a:pt x="2" y="230"/>
                    <a:pt x="0" y="249"/>
                    <a:pt x="4" y="269"/>
                  </a:cubicBezTo>
                  <a:cubicBezTo>
                    <a:pt x="13" y="314"/>
                    <a:pt x="48" y="340"/>
                    <a:pt x="94" y="343"/>
                  </a:cubicBezTo>
                  <a:cubicBezTo>
                    <a:pt x="104" y="343"/>
                    <a:pt x="113" y="344"/>
                    <a:pt x="123" y="344"/>
                  </a:cubicBezTo>
                  <a:cubicBezTo>
                    <a:pt x="238" y="344"/>
                    <a:pt x="238" y="344"/>
                    <a:pt x="238" y="344"/>
                  </a:cubicBezTo>
                  <a:cubicBezTo>
                    <a:pt x="247" y="344"/>
                    <a:pt x="256" y="343"/>
                    <a:pt x="265" y="343"/>
                  </a:cubicBezTo>
                  <a:cubicBezTo>
                    <a:pt x="276" y="342"/>
                    <a:pt x="288" y="341"/>
                    <a:pt x="299" y="339"/>
                  </a:cubicBezTo>
                  <a:close/>
                </a:path>
              </a:pathLst>
            </a:custGeom>
            <a:noFill/>
            <a:ln w="82550" cap="rnd">
              <a:solidFill>
                <a:schemeClr val="tx2">
                  <a:alpha val="2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9">
              <a:extLst>
                <a:ext uri="{FF2B5EF4-FFF2-40B4-BE49-F238E27FC236}">
                  <a16:creationId xmlns:a16="http://schemas.microsoft.com/office/drawing/2014/main" id="{083ACF51-1C9E-D7B6-A30C-19AE1BFB4FB8}"/>
                </a:ext>
              </a:extLst>
            </p:cNvPr>
            <p:cNvSpPr>
              <a:spLocks/>
            </p:cNvSpPr>
            <p:nvPr/>
          </p:nvSpPr>
          <p:spPr bwMode="gray">
            <a:xfrm>
              <a:off x="8049854" y="4244507"/>
              <a:ext cx="1096157" cy="1022746"/>
            </a:xfrm>
            <a:custGeom>
              <a:avLst/>
              <a:gdLst>
                <a:gd name="T0" fmla="*/ 299 w 369"/>
                <a:gd name="T1" fmla="*/ 339 h 344"/>
                <a:gd name="T2" fmla="*/ 366 w 369"/>
                <a:gd name="T3" fmla="*/ 252 h 344"/>
                <a:gd name="T4" fmla="*/ 355 w 369"/>
                <a:gd name="T5" fmla="*/ 213 h 344"/>
                <a:gd name="T6" fmla="*/ 319 w 369"/>
                <a:gd name="T7" fmla="*/ 144 h 344"/>
                <a:gd name="T8" fmla="*/ 254 w 369"/>
                <a:gd name="T9" fmla="*/ 39 h 344"/>
                <a:gd name="T10" fmla="*/ 191 w 369"/>
                <a:gd name="T11" fmla="*/ 2 h 344"/>
                <a:gd name="T12" fmla="*/ 110 w 369"/>
                <a:gd name="T13" fmla="*/ 42 h 344"/>
                <a:gd name="T14" fmla="*/ 11 w 369"/>
                <a:gd name="T15" fmla="*/ 213 h 344"/>
                <a:gd name="T16" fmla="*/ 4 w 369"/>
                <a:gd name="T17" fmla="*/ 269 h 344"/>
                <a:gd name="T18" fmla="*/ 94 w 369"/>
                <a:gd name="T19" fmla="*/ 343 h 344"/>
                <a:gd name="T20" fmla="*/ 123 w 369"/>
                <a:gd name="T21" fmla="*/ 344 h 344"/>
                <a:gd name="T22" fmla="*/ 238 w 369"/>
                <a:gd name="T23" fmla="*/ 344 h 344"/>
                <a:gd name="T24" fmla="*/ 265 w 369"/>
                <a:gd name="T25" fmla="*/ 343 h 344"/>
                <a:gd name="T26" fmla="*/ 299 w 369"/>
                <a:gd name="T27" fmla="*/ 3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344">
                  <a:moveTo>
                    <a:pt x="299" y="339"/>
                  </a:moveTo>
                  <a:cubicBezTo>
                    <a:pt x="337" y="331"/>
                    <a:pt x="369" y="289"/>
                    <a:pt x="366" y="252"/>
                  </a:cubicBezTo>
                  <a:cubicBezTo>
                    <a:pt x="365" y="239"/>
                    <a:pt x="361" y="225"/>
                    <a:pt x="355" y="213"/>
                  </a:cubicBezTo>
                  <a:cubicBezTo>
                    <a:pt x="344" y="190"/>
                    <a:pt x="332" y="167"/>
                    <a:pt x="319" y="144"/>
                  </a:cubicBezTo>
                  <a:cubicBezTo>
                    <a:pt x="298" y="109"/>
                    <a:pt x="277" y="73"/>
                    <a:pt x="254" y="39"/>
                  </a:cubicBezTo>
                  <a:cubicBezTo>
                    <a:pt x="239" y="18"/>
                    <a:pt x="218" y="4"/>
                    <a:pt x="191" y="2"/>
                  </a:cubicBezTo>
                  <a:cubicBezTo>
                    <a:pt x="157" y="0"/>
                    <a:pt x="129" y="13"/>
                    <a:pt x="110" y="42"/>
                  </a:cubicBezTo>
                  <a:cubicBezTo>
                    <a:pt x="72" y="96"/>
                    <a:pt x="40" y="154"/>
                    <a:pt x="11" y="213"/>
                  </a:cubicBezTo>
                  <a:cubicBezTo>
                    <a:pt x="2" y="230"/>
                    <a:pt x="0" y="249"/>
                    <a:pt x="4" y="269"/>
                  </a:cubicBezTo>
                  <a:cubicBezTo>
                    <a:pt x="13" y="314"/>
                    <a:pt x="48" y="340"/>
                    <a:pt x="94" y="343"/>
                  </a:cubicBezTo>
                  <a:cubicBezTo>
                    <a:pt x="104" y="343"/>
                    <a:pt x="113" y="344"/>
                    <a:pt x="123" y="344"/>
                  </a:cubicBezTo>
                  <a:cubicBezTo>
                    <a:pt x="238" y="344"/>
                    <a:pt x="238" y="344"/>
                    <a:pt x="238" y="344"/>
                  </a:cubicBezTo>
                  <a:cubicBezTo>
                    <a:pt x="247" y="344"/>
                    <a:pt x="256" y="343"/>
                    <a:pt x="265" y="343"/>
                  </a:cubicBezTo>
                  <a:cubicBezTo>
                    <a:pt x="276" y="342"/>
                    <a:pt x="288" y="341"/>
                    <a:pt x="299" y="339"/>
                  </a:cubicBezTo>
                  <a:close/>
                </a:path>
              </a:pathLst>
            </a:custGeom>
            <a:noFill/>
            <a:ln w="82550" cap="rnd">
              <a:solidFill>
                <a:schemeClr val="tx2">
                  <a:alpha val="2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4" name="Gruppieren 44">
            <a:extLst>
              <a:ext uri="{FF2B5EF4-FFF2-40B4-BE49-F238E27FC236}">
                <a16:creationId xmlns:a16="http://schemas.microsoft.com/office/drawing/2014/main" id="{36BA8FA1-00F5-39C7-DD0F-9618170EE7E0}"/>
              </a:ext>
            </a:extLst>
          </p:cNvPr>
          <p:cNvGrpSpPr/>
          <p:nvPr/>
        </p:nvGrpSpPr>
        <p:grpSpPr bwMode="gray">
          <a:xfrm>
            <a:off x="149772" y="4927485"/>
            <a:ext cx="3310558" cy="1575030"/>
            <a:chOff x="851625" y="1605370"/>
            <a:chExt cx="8168472" cy="4559630"/>
          </a:xfrm>
        </p:grpSpPr>
        <p:pic>
          <p:nvPicPr>
            <p:cNvPr id="65" name="Inhaltsplatzhalter 8">
              <a:extLst>
                <a:ext uri="{FF2B5EF4-FFF2-40B4-BE49-F238E27FC236}">
                  <a16:creationId xmlns:a16="http://schemas.microsoft.com/office/drawing/2014/main" id="{D8A2DB35-1D26-4D9A-C257-D2064EF3CE7E}"/>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7715" t="8173"/>
            <a:stretch/>
          </p:blipFill>
          <p:spPr bwMode="gray">
            <a:xfrm>
              <a:off x="851625" y="1605370"/>
              <a:ext cx="8136248" cy="4559630"/>
            </a:xfrm>
            <a:prstGeom prst="rect">
              <a:avLst/>
            </a:prstGeom>
          </p:spPr>
        </p:pic>
        <p:sp>
          <p:nvSpPr>
            <p:cNvPr id="66" name="Freeform 9">
              <a:extLst>
                <a:ext uri="{FF2B5EF4-FFF2-40B4-BE49-F238E27FC236}">
                  <a16:creationId xmlns:a16="http://schemas.microsoft.com/office/drawing/2014/main" id="{8C149AB6-B635-4D1C-4F5E-D9DA23874355}"/>
                </a:ext>
              </a:extLst>
            </p:cNvPr>
            <p:cNvSpPr>
              <a:spLocks/>
            </p:cNvSpPr>
            <p:nvPr/>
          </p:nvSpPr>
          <p:spPr bwMode="gray">
            <a:xfrm>
              <a:off x="3564530" y="4810895"/>
              <a:ext cx="943134" cy="879971"/>
            </a:xfrm>
            <a:custGeom>
              <a:avLst/>
              <a:gdLst>
                <a:gd name="T0" fmla="*/ 299 w 369"/>
                <a:gd name="T1" fmla="*/ 339 h 344"/>
                <a:gd name="T2" fmla="*/ 366 w 369"/>
                <a:gd name="T3" fmla="*/ 252 h 344"/>
                <a:gd name="T4" fmla="*/ 355 w 369"/>
                <a:gd name="T5" fmla="*/ 213 h 344"/>
                <a:gd name="T6" fmla="*/ 319 w 369"/>
                <a:gd name="T7" fmla="*/ 144 h 344"/>
                <a:gd name="T8" fmla="*/ 254 w 369"/>
                <a:gd name="T9" fmla="*/ 39 h 344"/>
                <a:gd name="T10" fmla="*/ 191 w 369"/>
                <a:gd name="T11" fmla="*/ 2 h 344"/>
                <a:gd name="T12" fmla="*/ 110 w 369"/>
                <a:gd name="T13" fmla="*/ 42 h 344"/>
                <a:gd name="T14" fmla="*/ 11 w 369"/>
                <a:gd name="T15" fmla="*/ 213 h 344"/>
                <a:gd name="T16" fmla="*/ 4 w 369"/>
                <a:gd name="T17" fmla="*/ 269 h 344"/>
                <a:gd name="T18" fmla="*/ 94 w 369"/>
                <a:gd name="T19" fmla="*/ 343 h 344"/>
                <a:gd name="T20" fmla="*/ 123 w 369"/>
                <a:gd name="T21" fmla="*/ 344 h 344"/>
                <a:gd name="T22" fmla="*/ 238 w 369"/>
                <a:gd name="T23" fmla="*/ 344 h 344"/>
                <a:gd name="T24" fmla="*/ 265 w 369"/>
                <a:gd name="T25" fmla="*/ 343 h 344"/>
                <a:gd name="T26" fmla="*/ 299 w 369"/>
                <a:gd name="T27" fmla="*/ 3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344">
                  <a:moveTo>
                    <a:pt x="299" y="339"/>
                  </a:moveTo>
                  <a:cubicBezTo>
                    <a:pt x="337" y="331"/>
                    <a:pt x="369" y="289"/>
                    <a:pt x="366" y="252"/>
                  </a:cubicBezTo>
                  <a:cubicBezTo>
                    <a:pt x="365" y="239"/>
                    <a:pt x="361" y="225"/>
                    <a:pt x="355" y="213"/>
                  </a:cubicBezTo>
                  <a:cubicBezTo>
                    <a:pt x="344" y="190"/>
                    <a:pt x="332" y="167"/>
                    <a:pt x="319" y="144"/>
                  </a:cubicBezTo>
                  <a:cubicBezTo>
                    <a:pt x="298" y="109"/>
                    <a:pt x="277" y="73"/>
                    <a:pt x="254" y="39"/>
                  </a:cubicBezTo>
                  <a:cubicBezTo>
                    <a:pt x="239" y="18"/>
                    <a:pt x="218" y="4"/>
                    <a:pt x="191" y="2"/>
                  </a:cubicBezTo>
                  <a:cubicBezTo>
                    <a:pt x="157" y="0"/>
                    <a:pt x="129" y="13"/>
                    <a:pt x="110" y="42"/>
                  </a:cubicBezTo>
                  <a:cubicBezTo>
                    <a:pt x="72" y="96"/>
                    <a:pt x="40" y="154"/>
                    <a:pt x="11" y="213"/>
                  </a:cubicBezTo>
                  <a:cubicBezTo>
                    <a:pt x="2" y="230"/>
                    <a:pt x="0" y="249"/>
                    <a:pt x="4" y="269"/>
                  </a:cubicBezTo>
                  <a:cubicBezTo>
                    <a:pt x="13" y="314"/>
                    <a:pt x="48" y="340"/>
                    <a:pt x="94" y="343"/>
                  </a:cubicBezTo>
                  <a:cubicBezTo>
                    <a:pt x="104" y="343"/>
                    <a:pt x="113" y="344"/>
                    <a:pt x="123" y="344"/>
                  </a:cubicBezTo>
                  <a:cubicBezTo>
                    <a:pt x="238" y="344"/>
                    <a:pt x="238" y="344"/>
                    <a:pt x="238" y="344"/>
                  </a:cubicBezTo>
                  <a:cubicBezTo>
                    <a:pt x="247" y="344"/>
                    <a:pt x="256" y="343"/>
                    <a:pt x="265" y="343"/>
                  </a:cubicBezTo>
                  <a:cubicBezTo>
                    <a:pt x="276" y="342"/>
                    <a:pt x="288" y="341"/>
                    <a:pt x="299" y="339"/>
                  </a:cubicBezTo>
                  <a:close/>
                </a:path>
              </a:pathLst>
            </a:custGeom>
            <a:noFill/>
            <a:ln w="82550" cap="rnd">
              <a:solidFill>
                <a:schemeClr val="tx2">
                  <a:alpha val="2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9">
              <a:extLst>
                <a:ext uri="{FF2B5EF4-FFF2-40B4-BE49-F238E27FC236}">
                  <a16:creationId xmlns:a16="http://schemas.microsoft.com/office/drawing/2014/main" id="{4BB218EC-D1B2-DECA-046E-8BF4D594D803}"/>
                </a:ext>
              </a:extLst>
            </p:cNvPr>
            <p:cNvSpPr>
              <a:spLocks/>
            </p:cNvSpPr>
            <p:nvPr/>
          </p:nvSpPr>
          <p:spPr bwMode="gray">
            <a:xfrm>
              <a:off x="2339382" y="2289547"/>
              <a:ext cx="943134" cy="879971"/>
            </a:xfrm>
            <a:custGeom>
              <a:avLst/>
              <a:gdLst>
                <a:gd name="T0" fmla="*/ 299 w 369"/>
                <a:gd name="T1" fmla="*/ 339 h 344"/>
                <a:gd name="T2" fmla="*/ 366 w 369"/>
                <a:gd name="T3" fmla="*/ 252 h 344"/>
                <a:gd name="T4" fmla="*/ 355 w 369"/>
                <a:gd name="T5" fmla="*/ 213 h 344"/>
                <a:gd name="T6" fmla="*/ 319 w 369"/>
                <a:gd name="T7" fmla="*/ 144 h 344"/>
                <a:gd name="T8" fmla="*/ 254 w 369"/>
                <a:gd name="T9" fmla="*/ 39 h 344"/>
                <a:gd name="T10" fmla="*/ 191 w 369"/>
                <a:gd name="T11" fmla="*/ 2 h 344"/>
                <a:gd name="T12" fmla="*/ 110 w 369"/>
                <a:gd name="T13" fmla="*/ 42 h 344"/>
                <a:gd name="T14" fmla="*/ 11 w 369"/>
                <a:gd name="T15" fmla="*/ 213 h 344"/>
                <a:gd name="T16" fmla="*/ 4 w 369"/>
                <a:gd name="T17" fmla="*/ 269 h 344"/>
                <a:gd name="T18" fmla="*/ 94 w 369"/>
                <a:gd name="T19" fmla="*/ 343 h 344"/>
                <a:gd name="T20" fmla="*/ 123 w 369"/>
                <a:gd name="T21" fmla="*/ 344 h 344"/>
                <a:gd name="T22" fmla="*/ 238 w 369"/>
                <a:gd name="T23" fmla="*/ 344 h 344"/>
                <a:gd name="T24" fmla="*/ 265 w 369"/>
                <a:gd name="T25" fmla="*/ 343 h 344"/>
                <a:gd name="T26" fmla="*/ 299 w 369"/>
                <a:gd name="T27" fmla="*/ 3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344">
                  <a:moveTo>
                    <a:pt x="299" y="339"/>
                  </a:moveTo>
                  <a:cubicBezTo>
                    <a:pt x="337" y="331"/>
                    <a:pt x="369" y="289"/>
                    <a:pt x="366" y="252"/>
                  </a:cubicBezTo>
                  <a:cubicBezTo>
                    <a:pt x="365" y="239"/>
                    <a:pt x="361" y="225"/>
                    <a:pt x="355" y="213"/>
                  </a:cubicBezTo>
                  <a:cubicBezTo>
                    <a:pt x="344" y="190"/>
                    <a:pt x="332" y="167"/>
                    <a:pt x="319" y="144"/>
                  </a:cubicBezTo>
                  <a:cubicBezTo>
                    <a:pt x="298" y="109"/>
                    <a:pt x="277" y="73"/>
                    <a:pt x="254" y="39"/>
                  </a:cubicBezTo>
                  <a:cubicBezTo>
                    <a:pt x="239" y="18"/>
                    <a:pt x="218" y="4"/>
                    <a:pt x="191" y="2"/>
                  </a:cubicBezTo>
                  <a:cubicBezTo>
                    <a:pt x="157" y="0"/>
                    <a:pt x="129" y="13"/>
                    <a:pt x="110" y="42"/>
                  </a:cubicBezTo>
                  <a:cubicBezTo>
                    <a:pt x="72" y="96"/>
                    <a:pt x="40" y="154"/>
                    <a:pt x="11" y="213"/>
                  </a:cubicBezTo>
                  <a:cubicBezTo>
                    <a:pt x="2" y="230"/>
                    <a:pt x="0" y="249"/>
                    <a:pt x="4" y="269"/>
                  </a:cubicBezTo>
                  <a:cubicBezTo>
                    <a:pt x="13" y="314"/>
                    <a:pt x="48" y="340"/>
                    <a:pt x="94" y="343"/>
                  </a:cubicBezTo>
                  <a:cubicBezTo>
                    <a:pt x="104" y="343"/>
                    <a:pt x="113" y="344"/>
                    <a:pt x="123" y="344"/>
                  </a:cubicBezTo>
                  <a:cubicBezTo>
                    <a:pt x="238" y="344"/>
                    <a:pt x="238" y="344"/>
                    <a:pt x="238" y="344"/>
                  </a:cubicBezTo>
                  <a:cubicBezTo>
                    <a:pt x="247" y="344"/>
                    <a:pt x="256" y="343"/>
                    <a:pt x="265" y="343"/>
                  </a:cubicBezTo>
                  <a:cubicBezTo>
                    <a:pt x="276" y="342"/>
                    <a:pt x="288" y="341"/>
                    <a:pt x="299" y="339"/>
                  </a:cubicBezTo>
                  <a:close/>
                </a:path>
              </a:pathLst>
            </a:custGeom>
            <a:noFill/>
            <a:ln w="82550" cap="rnd">
              <a:solidFill>
                <a:schemeClr val="tx2">
                  <a:alpha val="2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9">
              <a:extLst>
                <a:ext uri="{FF2B5EF4-FFF2-40B4-BE49-F238E27FC236}">
                  <a16:creationId xmlns:a16="http://schemas.microsoft.com/office/drawing/2014/main" id="{1F6CA339-FA4C-4C30-10A1-086B82B5F447}"/>
                </a:ext>
              </a:extLst>
            </p:cNvPr>
            <p:cNvSpPr>
              <a:spLocks/>
            </p:cNvSpPr>
            <p:nvPr/>
          </p:nvSpPr>
          <p:spPr bwMode="gray">
            <a:xfrm>
              <a:off x="8076963" y="2034078"/>
              <a:ext cx="943134" cy="879971"/>
            </a:xfrm>
            <a:custGeom>
              <a:avLst/>
              <a:gdLst>
                <a:gd name="T0" fmla="*/ 299 w 369"/>
                <a:gd name="T1" fmla="*/ 339 h 344"/>
                <a:gd name="T2" fmla="*/ 366 w 369"/>
                <a:gd name="T3" fmla="*/ 252 h 344"/>
                <a:gd name="T4" fmla="*/ 355 w 369"/>
                <a:gd name="T5" fmla="*/ 213 h 344"/>
                <a:gd name="T6" fmla="*/ 319 w 369"/>
                <a:gd name="T7" fmla="*/ 144 h 344"/>
                <a:gd name="T8" fmla="*/ 254 w 369"/>
                <a:gd name="T9" fmla="*/ 39 h 344"/>
                <a:gd name="T10" fmla="*/ 191 w 369"/>
                <a:gd name="T11" fmla="*/ 2 h 344"/>
                <a:gd name="T12" fmla="*/ 110 w 369"/>
                <a:gd name="T13" fmla="*/ 42 h 344"/>
                <a:gd name="T14" fmla="*/ 11 w 369"/>
                <a:gd name="T15" fmla="*/ 213 h 344"/>
                <a:gd name="T16" fmla="*/ 4 w 369"/>
                <a:gd name="T17" fmla="*/ 269 h 344"/>
                <a:gd name="T18" fmla="*/ 94 w 369"/>
                <a:gd name="T19" fmla="*/ 343 h 344"/>
                <a:gd name="T20" fmla="*/ 123 w 369"/>
                <a:gd name="T21" fmla="*/ 344 h 344"/>
                <a:gd name="T22" fmla="*/ 238 w 369"/>
                <a:gd name="T23" fmla="*/ 344 h 344"/>
                <a:gd name="T24" fmla="*/ 265 w 369"/>
                <a:gd name="T25" fmla="*/ 343 h 344"/>
                <a:gd name="T26" fmla="*/ 299 w 369"/>
                <a:gd name="T27" fmla="*/ 3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344">
                  <a:moveTo>
                    <a:pt x="299" y="339"/>
                  </a:moveTo>
                  <a:cubicBezTo>
                    <a:pt x="337" y="331"/>
                    <a:pt x="369" y="289"/>
                    <a:pt x="366" y="252"/>
                  </a:cubicBezTo>
                  <a:cubicBezTo>
                    <a:pt x="365" y="239"/>
                    <a:pt x="361" y="225"/>
                    <a:pt x="355" y="213"/>
                  </a:cubicBezTo>
                  <a:cubicBezTo>
                    <a:pt x="344" y="190"/>
                    <a:pt x="332" y="167"/>
                    <a:pt x="319" y="144"/>
                  </a:cubicBezTo>
                  <a:cubicBezTo>
                    <a:pt x="298" y="109"/>
                    <a:pt x="277" y="73"/>
                    <a:pt x="254" y="39"/>
                  </a:cubicBezTo>
                  <a:cubicBezTo>
                    <a:pt x="239" y="18"/>
                    <a:pt x="218" y="4"/>
                    <a:pt x="191" y="2"/>
                  </a:cubicBezTo>
                  <a:cubicBezTo>
                    <a:pt x="157" y="0"/>
                    <a:pt x="129" y="13"/>
                    <a:pt x="110" y="42"/>
                  </a:cubicBezTo>
                  <a:cubicBezTo>
                    <a:pt x="72" y="96"/>
                    <a:pt x="40" y="154"/>
                    <a:pt x="11" y="213"/>
                  </a:cubicBezTo>
                  <a:cubicBezTo>
                    <a:pt x="2" y="230"/>
                    <a:pt x="0" y="249"/>
                    <a:pt x="4" y="269"/>
                  </a:cubicBezTo>
                  <a:cubicBezTo>
                    <a:pt x="13" y="314"/>
                    <a:pt x="48" y="340"/>
                    <a:pt x="94" y="343"/>
                  </a:cubicBezTo>
                  <a:cubicBezTo>
                    <a:pt x="104" y="343"/>
                    <a:pt x="113" y="344"/>
                    <a:pt x="123" y="344"/>
                  </a:cubicBezTo>
                  <a:cubicBezTo>
                    <a:pt x="238" y="344"/>
                    <a:pt x="238" y="344"/>
                    <a:pt x="238" y="344"/>
                  </a:cubicBezTo>
                  <a:cubicBezTo>
                    <a:pt x="247" y="344"/>
                    <a:pt x="256" y="343"/>
                    <a:pt x="265" y="343"/>
                  </a:cubicBezTo>
                  <a:cubicBezTo>
                    <a:pt x="276" y="342"/>
                    <a:pt x="288" y="341"/>
                    <a:pt x="299" y="339"/>
                  </a:cubicBezTo>
                  <a:close/>
                </a:path>
              </a:pathLst>
            </a:custGeom>
            <a:noFill/>
            <a:ln w="82550" cap="rnd">
              <a:solidFill>
                <a:schemeClr val="tx2">
                  <a:alpha val="2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0674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4F7B9026-36AD-42E4-B172-8D68F3A339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Resim 6">
            <a:extLst>
              <a:ext uri="{FF2B5EF4-FFF2-40B4-BE49-F238E27FC236}">
                <a16:creationId xmlns:a16="http://schemas.microsoft.com/office/drawing/2014/main" id="{42852BD1-6284-A94E-6311-BFCCB4730446}"/>
              </a:ext>
            </a:extLst>
          </p:cNvPr>
          <p:cNvPicPr>
            <a:picLocks noChangeAspect="1"/>
          </p:cNvPicPr>
          <p:nvPr/>
        </p:nvPicPr>
        <p:blipFill rotWithShape="1">
          <a:blip r:embed="rId2">
            <a:extLst>
              <a:ext uri="{28A0092B-C50C-407E-A947-70E740481C1C}">
                <a14:useLocalDpi xmlns:a14="http://schemas.microsoft.com/office/drawing/2010/main" val="0"/>
              </a:ext>
            </a:extLst>
          </a:blip>
          <a:srcRect t="19480" r="-2" b="1704"/>
          <a:stretch/>
        </p:blipFill>
        <p:spPr>
          <a:xfrm>
            <a:off x="3821144" y="-1"/>
            <a:ext cx="3420577" cy="6858001"/>
          </a:xfrm>
          <a:prstGeom prst="rect">
            <a:avLst/>
          </a:prstGeom>
        </p:spPr>
      </p:pic>
      <p:pic>
        <p:nvPicPr>
          <p:cNvPr id="5" name="Resim 4" descr="taş, kirli içeren bir resim&#10;&#10;Açıklama otomatik olarak oluşturuldu">
            <a:extLst>
              <a:ext uri="{FF2B5EF4-FFF2-40B4-BE49-F238E27FC236}">
                <a16:creationId xmlns:a16="http://schemas.microsoft.com/office/drawing/2014/main" id="{A39D6608-328C-3814-36C4-F0F64B08141B}"/>
              </a:ext>
            </a:extLst>
          </p:cNvPr>
          <p:cNvPicPr>
            <a:picLocks noChangeAspect="1"/>
          </p:cNvPicPr>
          <p:nvPr/>
        </p:nvPicPr>
        <p:blipFill rotWithShape="1">
          <a:blip r:embed="rId3">
            <a:extLst>
              <a:ext uri="{28A0092B-C50C-407E-A947-70E740481C1C}">
                <a14:useLocalDpi xmlns:a14="http://schemas.microsoft.com/office/drawing/2010/main" val="0"/>
              </a:ext>
            </a:extLst>
          </a:blip>
          <a:srcRect l="7563" r="14681" b="-3"/>
          <a:stretch/>
        </p:blipFill>
        <p:spPr>
          <a:xfrm>
            <a:off x="0" y="-1"/>
            <a:ext cx="3755571" cy="6858000"/>
          </a:xfrm>
          <a:prstGeom prst="rect">
            <a:avLst/>
          </a:prstGeom>
        </p:spPr>
      </p:pic>
      <p:pic>
        <p:nvPicPr>
          <p:cNvPr id="8" name="Resim 7">
            <a:extLst>
              <a:ext uri="{FF2B5EF4-FFF2-40B4-BE49-F238E27FC236}">
                <a16:creationId xmlns:a16="http://schemas.microsoft.com/office/drawing/2014/main" id="{FECA0FFA-6F0D-16BC-8E92-ECCA9084F6DC}"/>
              </a:ext>
            </a:extLst>
          </p:cNvPr>
          <p:cNvPicPr>
            <a:picLocks noChangeAspect="1"/>
          </p:cNvPicPr>
          <p:nvPr/>
        </p:nvPicPr>
        <p:blipFill>
          <a:blip r:embed="rId4"/>
          <a:stretch>
            <a:fillRect/>
          </a:stretch>
        </p:blipFill>
        <p:spPr>
          <a:xfrm>
            <a:off x="7349110" y="987124"/>
            <a:ext cx="4733977" cy="2231571"/>
          </a:xfrm>
          <a:prstGeom prst="rect">
            <a:avLst/>
          </a:prstGeom>
        </p:spPr>
      </p:pic>
      <p:pic>
        <p:nvPicPr>
          <p:cNvPr id="9" name="Resim 8">
            <a:extLst>
              <a:ext uri="{FF2B5EF4-FFF2-40B4-BE49-F238E27FC236}">
                <a16:creationId xmlns:a16="http://schemas.microsoft.com/office/drawing/2014/main" id="{F49C6AA2-27F6-5F04-C70B-780D2DE094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9109" y="3590904"/>
            <a:ext cx="4733977" cy="2231570"/>
          </a:xfrm>
          <a:prstGeom prst="rect">
            <a:avLst/>
          </a:prstGeom>
        </p:spPr>
      </p:pic>
      <p:pic>
        <p:nvPicPr>
          <p:cNvPr id="10" name="Resim 9" descr="metin, logo içeren bir resim&#10;&#10;Açıklama otomatik olarak oluşturuldu">
            <a:extLst>
              <a:ext uri="{FF2B5EF4-FFF2-40B4-BE49-F238E27FC236}">
                <a16:creationId xmlns:a16="http://schemas.microsoft.com/office/drawing/2014/main" id="{905B78D6-21EC-3C4E-F147-CA9EA8A3BB43}"/>
              </a:ext>
            </a:extLst>
          </p:cNvPr>
          <p:cNvPicPr>
            <a:picLocks noChangeAspect="1"/>
          </p:cNvPicPr>
          <p:nvPr/>
        </p:nvPicPr>
        <p:blipFill>
          <a:blip r:embed="rId6"/>
          <a:stretch>
            <a:fillRect/>
          </a:stretch>
        </p:blipFill>
        <p:spPr>
          <a:xfrm>
            <a:off x="9055703" y="141629"/>
            <a:ext cx="3027384" cy="703866"/>
          </a:xfrm>
          <a:prstGeom prst="rect">
            <a:avLst/>
          </a:prstGeom>
        </p:spPr>
      </p:pic>
      <p:sp>
        <p:nvSpPr>
          <p:cNvPr id="11" name="Oval 10">
            <a:extLst>
              <a:ext uri="{FF2B5EF4-FFF2-40B4-BE49-F238E27FC236}">
                <a16:creationId xmlns:a16="http://schemas.microsoft.com/office/drawing/2014/main" id="{2BFC2636-E14C-93DF-F05B-4051397AB7E5}"/>
              </a:ext>
            </a:extLst>
          </p:cNvPr>
          <p:cNvSpPr/>
          <p:nvPr/>
        </p:nvSpPr>
        <p:spPr>
          <a:xfrm>
            <a:off x="2539093" y="2726871"/>
            <a:ext cx="852799" cy="1264108"/>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3" name="Oval 12">
            <a:extLst>
              <a:ext uri="{FF2B5EF4-FFF2-40B4-BE49-F238E27FC236}">
                <a16:creationId xmlns:a16="http://schemas.microsoft.com/office/drawing/2014/main" id="{832C5E44-72CA-CFC1-77F9-9B3577615BCB}"/>
              </a:ext>
            </a:extLst>
          </p:cNvPr>
          <p:cNvSpPr/>
          <p:nvPr/>
        </p:nvSpPr>
        <p:spPr>
          <a:xfrm rot="16200000">
            <a:off x="3988172" y="3952195"/>
            <a:ext cx="1118506" cy="1452561"/>
          </a:xfrm>
          <a:prstGeom prst="ellipse">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Oval 13">
            <a:extLst>
              <a:ext uri="{FF2B5EF4-FFF2-40B4-BE49-F238E27FC236}">
                <a16:creationId xmlns:a16="http://schemas.microsoft.com/office/drawing/2014/main" id="{B5C860D9-8D1F-5EE6-5B06-85C8D77AA19A}"/>
              </a:ext>
            </a:extLst>
          </p:cNvPr>
          <p:cNvSpPr/>
          <p:nvPr/>
        </p:nvSpPr>
        <p:spPr>
          <a:xfrm>
            <a:off x="10096501" y="4015128"/>
            <a:ext cx="1118506" cy="145256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5" name="Resim 14" descr="logo içeren bir resim&#10;&#10;Açıklama otomatik olarak oluşturuldu">
            <a:extLst>
              <a:ext uri="{FF2B5EF4-FFF2-40B4-BE49-F238E27FC236}">
                <a16:creationId xmlns:a16="http://schemas.microsoft.com/office/drawing/2014/main" id="{6BD76BF1-16E2-413F-21A3-2EA9E4864B73}"/>
              </a:ext>
            </a:extLst>
          </p:cNvPr>
          <p:cNvPicPr>
            <a:picLocks noChangeAspect="1"/>
          </p:cNvPicPr>
          <p:nvPr/>
        </p:nvPicPr>
        <p:blipFill>
          <a:blip r:embed="rId7"/>
          <a:stretch>
            <a:fillRect/>
          </a:stretch>
        </p:blipFill>
        <p:spPr>
          <a:xfrm>
            <a:off x="9569425" y="6020246"/>
            <a:ext cx="1999940" cy="639981"/>
          </a:xfrm>
          <a:prstGeom prst="rect">
            <a:avLst/>
          </a:prstGeom>
          <a:solidFill>
            <a:schemeClr val="bg1"/>
          </a:solidFill>
        </p:spPr>
      </p:pic>
    </p:spTree>
    <p:extLst>
      <p:ext uri="{BB962C8B-B14F-4D97-AF65-F5344CB8AC3E}">
        <p14:creationId xmlns:p14="http://schemas.microsoft.com/office/powerpoint/2010/main" val="361417153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19">
            <a:extLst>
              <a:ext uri="{FF2B5EF4-FFF2-40B4-BE49-F238E27FC236}">
                <a16:creationId xmlns:a16="http://schemas.microsoft.com/office/drawing/2014/main" id="{1C598A69-FFFE-4C09-8FE9-D660337B0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632" y="485804"/>
            <a:ext cx="5533524" cy="3510776"/>
          </a:xfrm>
          <a:prstGeom prst="rect">
            <a:avLst/>
          </a:prstGeom>
          <a:solidFill>
            <a:srgbClr val="FFFFFF"/>
          </a:solidFill>
          <a:ln w="63500">
            <a:solidFill>
              <a:srgbClr val="5D7F5A"/>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Resim 3">
            <a:extLst>
              <a:ext uri="{FF2B5EF4-FFF2-40B4-BE49-F238E27FC236}">
                <a16:creationId xmlns:a16="http://schemas.microsoft.com/office/drawing/2014/main" id="{6C576D29-6DF9-3A9A-FE1B-E86DC03496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5286" y="1040492"/>
            <a:ext cx="5192217" cy="2401400"/>
          </a:xfrm>
          <a:prstGeom prst="rect">
            <a:avLst/>
          </a:prstGeom>
        </p:spPr>
      </p:pic>
      <p:sp>
        <p:nvSpPr>
          <p:cNvPr id="27" name="Rectangle 21">
            <a:extLst>
              <a:ext uri="{FF2B5EF4-FFF2-40B4-BE49-F238E27FC236}">
                <a16:creationId xmlns:a16="http://schemas.microsoft.com/office/drawing/2014/main" id="{2B6121AA-FB9C-49D8-9295-014C895AFB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632" y="4157449"/>
            <a:ext cx="3122867" cy="2216840"/>
          </a:xfrm>
          <a:prstGeom prst="rect">
            <a:avLst/>
          </a:prstGeom>
          <a:solidFill>
            <a:srgbClr val="FFFFFF"/>
          </a:solidFill>
          <a:ln w="635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Resim 2" descr="sarı, park edilmiş içeren bir resim&#10;&#10;Açıklama otomatik olarak oluşturuldu">
            <a:extLst>
              <a:ext uri="{FF2B5EF4-FFF2-40B4-BE49-F238E27FC236}">
                <a16:creationId xmlns:a16="http://schemas.microsoft.com/office/drawing/2014/main" id="{52E4BFD6-0429-36E9-1FA1-2102AB84F825}"/>
              </a:ext>
            </a:extLst>
          </p:cNvPr>
          <p:cNvPicPr>
            <a:picLocks noChangeAspect="1"/>
          </p:cNvPicPr>
          <p:nvPr/>
        </p:nvPicPr>
        <p:blipFill>
          <a:blip r:embed="rId3"/>
          <a:stretch>
            <a:fillRect/>
          </a:stretch>
        </p:blipFill>
        <p:spPr>
          <a:xfrm>
            <a:off x="416379" y="4128774"/>
            <a:ext cx="3272161" cy="2274541"/>
          </a:xfrm>
          <a:prstGeom prst="rect">
            <a:avLst/>
          </a:prstGeom>
        </p:spPr>
      </p:pic>
      <p:sp>
        <p:nvSpPr>
          <p:cNvPr id="24" name="Rectangle 23">
            <a:extLst>
              <a:ext uri="{FF2B5EF4-FFF2-40B4-BE49-F238E27FC236}">
                <a16:creationId xmlns:a16="http://schemas.microsoft.com/office/drawing/2014/main" id="{2C188CD4-9C38-4BEB-8E94-633B1B48BC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60883" y="4132885"/>
            <a:ext cx="2288736" cy="2274541"/>
          </a:xfrm>
          <a:prstGeom prst="rect">
            <a:avLst/>
          </a:prstGeom>
          <a:solidFill>
            <a:srgbClr val="5D7F5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2E8BD155-F3B5-4CE9-AB1C-08C964CDC7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96188" y="485805"/>
            <a:ext cx="5511179" cy="5888484"/>
          </a:xfrm>
          <a:prstGeom prst="rect">
            <a:avLst/>
          </a:prstGeom>
          <a:solidFill>
            <a:srgbClr val="FFFFFF"/>
          </a:solidFill>
          <a:ln w="635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Resim 14">
            <a:extLst>
              <a:ext uri="{FF2B5EF4-FFF2-40B4-BE49-F238E27FC236}">
                <a16:creationId xmlns:a16="http://schemas.microsoft.com/office/drawing/2014/main" id="{D0B31474-7987-E0C3-3E92-6DF87715464F}"/>
              </a:ext>
            </a:extLst>
          </p:cNvPr>
          <p:cNvPicPr>
            <a:picLocks noChangeAspect="1"/>
          </p:cNvPicPr>
          <p:nvPr/>
        </p:nvPicPr>
        <p:blipFill rotWithShape="1">
          <a:blip r:embed="rId4">
            <a:extLst>
              <a:ext uri="{28A0092B-C50C-407E-A947-70E740481C1C}">
                <a14:useLocalDpi xmlns:a14="http://schemas.microsoft.com/office/drawing/2010/main" val="0"/>
              </a:ext>
            </a:extLst>
          </a:blip>
          <a:srcRect r="-1" b="20689"/>
          <a:stretch/>
        </p:blipFill>
        <p:spPr>
          <a:xfrm>
            <a:off x="7322387" y="635943"/>
            <a:ext cx="3258780" cy="5588208"/>
          </a:xfrm>
          <a:prstGeom prst="rect">
            <a:avLst/>
          </a:prstGeom>
        </p:spPr>
      </p:pic>
      <p:pic>
        <p:nvPicPr>
          <p:cNvPr id="16" name="Resim 15">
            <a:extLst>
              <a:ext uri="{FF2B5EF4-FFF2-40B4-BE49-F238E27FC236}">
                <a16:creationId xmlns:a16="http://schemas.microsoft.com/office/drawing/2014/main" id="{E0E0794C-16FC-6517-39F0-A0BB284013C4}"/>
              </a:ext>
            </a:extLst>
          </p:cNvPr>
          <p:cNvPicPr>
            <a:picLocks noChangeAspect="1"/>
          </p:cNvPicPr>
          <p:nvPr/>
        </p:nvPicPr>
        <p:blipFill>
          <a:blip r:embed="rId5"/>
          <a:stretch>
            <a:fillRect/>
          </a:stretch>
        </p:blipFill>
        <p:spPr>
          <a:xfrm>
            <a:off x="3754068" y="4421502"/>
            <a:ext cx="2251645" cy="1688734"/>
          </a:xfrm>
          <a:prstGeom prst="rect">
            <a:avLst/>
          </a:prstGeom>
        </p:spPr>
      </p:pic>
      <p:sp>
        <p:nvSpPr>
          <p:cNvPr id="18" name="Oval 17">
            <a:extLst>
              <a:ext uri="{FF2B5EF4-FFF2-40B4-BE49-F238E27FC236}">
                <a16:creationId xmlns:a16="http://schemas.microsoft.com/office/drawing/2014/main" id="{FD538958-B7D9-6AE7-BAFF-A88EA30679EA}"/>
              </a:ext>
            </a:extLst>
          </p:cNvPr>
          <p:cNvSpPr/>
          <p:nvPr/>
        </p:nvSpPr>
        <p:spPr>
          <a:xfrm>
            <a:off x="574684" y="4755935"/>
            <a:ext cx="852799" cy="1264108"/>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0" name="Oval 29">
            <a:extLst>
              <a:ext uri="{FF2B5EF4-FFF2-40B4-BE49-F238E27FC236}">
                <a16:creationId xmlns:a16="http://schemas.microsoft.com/office/drawing/2014/main" id="{6E5F82C4-2016-40FF-0D2D-BB860A4BABCF}"/>
              </a:ext>
            </a:extLst>
          </p:cNvPr>
          <p:cNvSpPr/>
          <p:nvPr/>
        </p:nvSpPr>
        <p:spPr>
          <a:xfrm rot="16200000">
            <a:off x="7707462" y="3184447"/>
            <a:ext cx="1353546" cy="2123694"/>
          </a:xfrm>
          <a:prstGeom prst="ellipse">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223119825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4C797EC7-4913-A208-BCCF-61F0F33848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54263" y="0"/>
            <a:ext cx="3167539" cy="6858000"/>
          </a:xfrm>
          <a:prstGeom prst="rect">
            <a:avLst/>
          </a:prstGeom>
        </p:spPr>
      </p:pic>
      <p:pic>
        <p:nvPicPr>
          <p:cNvPr id="6" name="Resim 5">
            <a:extLst>
              <a:ext uri="{FF2B5EF4-FFF2-40B4-BE49-F238E27FC236}">
                <a16:creationId xmlns:a16="http://schemas.microsoft.com/office/drawing/2014/main" id="{51B51366-62A4-26DA-7102-44B6315586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167539" cy="6858000"/>
          </a:xfrm>
          <a:prstGeom prst="rect">
            <a:avLst/>
          </a:prstGeom>
        </p:spPr>
      </p:pic>
      <p:pic>
        <p:nvPicPr>
          <p:cNvPr id="7" name="Resim 6">
            <a:extLst>
              <a:ext uri="{FF2B5EF4-FFF2-40B4-BE49-F238E27FC236}">
                <a16:creationId xmlns:a16="http://schemas.microsoft.com/office/drawing/2014/main" id="{5CB8CCC0-A860-5BB3-3F4A-80E5D8729F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08526" y="0"/>
            <a:ext cx="5584414" cy="2607252"/>
          </a:xfrm>
          <a:prstGeom prst="rect">
            <a:avLst/>
          </a:prstGeom>
        </p:spPr>
      </p:pic>
      <p:sp>
        <p:nvSpPr>
          <p:cNvPr id="8" name="Oval 7">
            <a:extLst>
              <a:ext uri="{FF2B5EF4-FFF2-40B4-BE49-F238E27FC236}">
                <a16:creationId xmlns:a16="http://schemas.microsoft.com/office/drawing/2014/main" id="{F064A84B-668A-B0D7-C6F0-9EE29DD32DEE}"/>
              </a:ext>
            </a:extLst>
          </p:cNvPr>
          <p:cNvSpPr/>
          <p:nvPr/>
        </p:nvSpPr>
        <p:spPr>
          <a:xfrm>
            <a:off x="6508526" y="757918"/>
            <a:ext cx="1665922" cy="1524000"/>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
        <p:nvSpPr>
          <p:cNvPr id="9" name="Oval 8">
            <a:extLst>
              <a:ext uri="{FF2B5EF4-FFF2-40B4-BE49-F238E27FC236}">
                <a16:creationId xmlns:a16="http://schemas.microsoft.com/office/drawing/2014/main" id="{035D575B-6C3D-5532-6B6C-ED42D1BD2B32}"/>
              </a:ext>
            </a:extLst>
          </p:cNvPr>
          <p:cNvSpPr/>
          <p:nvPr/>
        </p:nvSpPr>
        <p:spPr>
          <a:xfrm>
            <a:off x="-1" y="5334000"/>
            <a:ext cx="990601" cy="609600"/>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pic>
        <p:nvPicPr>
          <p:cNvPr id="10" name="Resim 9">
            <a:extLst>
              <a:ext uri="{FF2B5EF4-FFF2-40B4-BE49-F238E27FC236}">
                <a16:creationId xmlns:a16="http://schemas.microsoft.com/office/drawing/2014/main" id="{E5AF7BD8-F412-D922-B437-54F9F35E20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08526" y="2735036"/>
            <a:ext cx="5584414" cy="4113608"/>
          </a:xfrm>
          <a:prstGeom prst="rect">
            <a:avLst/>
          </a:prstGeom>
        </p:spPr>
      </p:pic>
      <p:sp>
        <p:nvSpPr>
          <p:cNvPr id="11" name="Oval 10">
            <a:extLst>
              <a:ext uri="{FF2B5EF4-FFF2-40B4-BE49-F238E27FC236}">
                <a16:creationId xmlns:a16="http://schemas.microsoft.com/office/drawing/2014/main" id="{045E8A4D-7B23-AD3F-51C4-ACFBE3586DB2}"/>
              </a:ext>
            </a:extLst>
          </p:cNvPr>
          <p:cNvSpPr/>
          <p:nvPr/>
        </p:nvSpPr>
        <p:spPr>
          <a:xfrm>
            <a:off x="6675009" y="4544190"/>
            <a:ext cx="495212" cy="495300"/>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
        <p:nvSpPr>
          <p:cNvPr id="12" name="Oval 11">
            <a:extLst>
              <a:ext uri="{FF2B5EF4-FFF2-40B4-BE49-F238E27FC236}">
                <a16:creationId xmlns:a16="http://schemas.microsoft.com/office/drawing/2014/main" id="{1D3AE497-A774-A8F8-D777-02016BBC5B77}"/>
              </a:ext>
            </a:extLst>
          </p:cNvPr>
          <p:cNvSpPr/>
          <p:nvPr/>
        </p:nvSpPr>
        <p:spPr>
          <a:xfrm rot="16200000">
            <a:off x="4327446" y="2663051"/>
            <a:ext cx="1353546" cy="2613548"/>
          </a:xfrm>
          <a:prstGeom prst="ellipse">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3" name="Oval 12">
            <a:extLst>
              <a:ext uri="{FF2B5EF4-FFF2-40B4-BE49-F238E27FC236}">
                <a16:creationId xmlns:a16="http://schemas.microsoft.com/office/drawing/2014/main" id="{D6B0F3A0-24EC-7F5C-8414-F41B8FA8B028}"/>
              </a:ext>
            </a:extLst>
          </p:cNvPr>
          <p:cNvSpPr/>
          <p:nvPr/>
        </p:nvSpPr>
        <p:spPr>
          <a:xfrm>
            <a:off x="99060" y="2506436"/>
            <a:ext cx="1443990" cy="609600"/>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Tree>
    <p:extLst>
      <p:ext uri="{BB962C8B-B14F-4D97-AF65-F5344CB8AC3E}">
        <p14:creationId xmlns:p14="http://schemas.microsoft.com/office/powerpoint/2010/main" val="365904529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descr="metin, kişi içeren bir resim&#10;&#10;Açıklama otomatik olarak oluşturuldu">
            <a:extLst>
              <a:ext uri="{FF2B5EF4-FFF2-40B4-BE49-F238E27FC236}">
                <a16:creationId xmlns:a16="http://schemas.microsoft.com/office/drawing/2014/main" id="{9D5058D0-61CE-74F8-14E7-A84B74F9A2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Resim 12">
            <a:extLst>
              <a:ext uri="{FF2B5EF4-FFF2-40B4-BE49-F238E27FC236}">
                <a16:creationId xmlns:a16="http://schemas.microsoft.com/office/drawing/2014/main" id="{2B033A88-BCDA-3E3F-D05C-F0A0369534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1620" y="-1210963"/>
            <a:ext cx="3768755" cy="5326929"/>
          </a:xfrm>
          <a:prstGeom prst="rect">
            <a:avLst/>
          </a:prstGeom>
        </p:spPr>
      </p:pic>
      <p:pic>
        <p:nvPicPr>
          <p:cNvPr id="4" name="Resim 3" descr="logo içeren bir resim&#10;&#10;Açıklama otomatik olarak oluşturuldu">
            <a:extLst>
              <a:ext uri="{FF2B5EF4-FFF2-40B4-BE49-F238E27FC236}">
                <a16:creationId xmlns:a16="http://schemas.microsoft.com/office/drawing/2014/main" id="{772C315A-51FA-F58E-11ED-D60184FB59C2}"/>
              </a:ext>
            </a:extLst>
          </p:cNvPr>
          <p:cNvPicPr>
            <a:picLocks noChangeAspect="1"/>
          </p:cNvPicPr>
          <p:nvPr/>
        </p:nvPicPr>
        <p:blipFill>
          <a:blip r:embed="rId4"/>
          <a:stretch>
            <a:fillRect/>
          </a:stretch>
        </p:blipFill>
        <p:spPr>
          <a:xfrm>
            <a:off x="3280522" y="2737389"/>
            <a:ext cx="5630958" cy="1306039"/>
          </a:xfrm>
          <a:prstGeom prst="rect">
            <a:avLst/>
          </a:prstGeom>
          <a:solidFill>
            <a:schemeClr val="bg1"/>
          </a:solidFill>
        </p:spPr>
      </p:pic>
      <p:sp>
        <p:nvSpPr>
          <p:cNvPr id="9" name="Metin kutusu 8">
            <a:extLst>
              <a:ext uri="{FF2B5EF4-FFF2-40B4-BE49-F238E27FC236}">
                <a16:creationId xmlns:a16="http://schemas.microsoft.com/office/drawing/2014/main" id="{D9FF9DF1-0176-CC1E-4A0D-0190CFFBAB49}"/>
              </a:ext>
            </a:extLst>
          </p:cNvPr>
          <p:cNvSpPr txBox="1"/>
          <p:nvPr/>
        </p:nvSpPr>
        <p:spPr>
          <a:xfrm>
            <a:off x="3280518" y="4362322"/>
            <a:ext cx="5630957" cy="1323439"/>
          </a:xfrm>
          <a:prstGeom prst="rect">
            <a:avLst/>
          </a:prstGeom>
          <a:noFill/>
        </p:spPr>
        <p:txBody>
          <a:bodyPr wrap="square" rtlCol="0">
            <a:spAutoFit/>
          </a:bodyPr>
          <a:lstStyle/>
          <a:p>
            <a:pPr algn="ctr"/>
            <a:r>
              <a:rPr lang="nn-NO" sz="4000" dirty="0">
                <a:solidFill>
                  <a:schemeClr val="bg1"/>
                </a:solidFill>
              </a:rPr>
              <a:t>Endüstri 4.0 Kapsamında Kestirimci Bakım</a:t>
            </a:r>
            <a:endParaRPr lang="tr-TR" sz="4000" dirty="0">
              <a:solidFill>
                <a:schemeClr val="bg1"/>
              </a:solidFill>
            </a:endParaRPr>
          </a:p>
        </p:txBody>
      </p:sp>
    </p:spTree>
    <p:extLst>
      <p:ext uri="{BB962C8B-B14F-4D97-AF65-F5344CB8AC3E}">
        <p14:creationId xmlns:p14="http://schemas.microsoft.com/office/powerpoint/2010/main" val="36375902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410331F3-24D0-8874-E3D7-7325A41924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44" y="0"/>
            <a:ext cx="3167807" cy="6858000"/>
          </a:xfrm>
          <a:prstGeom prst="rect">
            <a:avLst/>
          </a:prstGeom>
        </p:spPr>
      </p:pic>
      <p:pic>
        <p:nvPicPr>
          <p:cNvPr id="7" name="Resim 6">
            <a:extLst>
              <a:ext uri="{FF2B5EF4-FFF2-40B4-BE49-F238E27FC236}">
                <a16:creationId xmlns:a16="http://schemas.microsoft.com/office/drawing/2014/main" id="{A636C2D5-1DF5-1F20-B4C0-58C873DAF8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1639" y="0"/>
            <a:ext cx="3167807" cy="6858000"/>
          </a:xfrm>
          <a:prstGeom prst="rect">
            <a:avLst/>
          </a:prstGeom>
        </p:spPr>
      </p:pic>
      <p:pic>
        <p:nvPicPr>
          <p:cNvPr id="8" name="Resim 7">
            <a:extLst>
              <a:ext uri="{FF2B5EF4-FFF2-40B4-BE49-F238E27FC236}">
                <a16:creationId xmlns:a16="http://schemas.microsoft.com/office/drawing/2014/main" id="{B9914838-4092-3860-985D-FD9D2778E9D5}"/>
              </a:ext>
            </a:extLst>
          </p:cNvPr>
          <p:cNvPicPr>
            <a:picLocks noChangeAspect="1"/>
          </p:cNvPicPr>
          <p:nvPr/>
        </p:nvPicPr>
        <p:blipFill>
          <a:blip r:embed="rId4"/>
          <a:stretch>
            <a:fillRect/>
          </a:stretch>
        </p:blipFill>
        <p:spPr>
          <a:xfrm>
            <a:off x="6463278" y="2797423"/>
            <a:ext cx="5620620" cy="4060577"/>
          </a:xfrm>
          <a:prstGeom prst="rect">
            <a:avLst/>
          </a:prstGeom>
        </p:spPr>
      </p:pic>
      <p:pic>
        <p:nvPicPr>
          <p:cNvPr id="9" name="Resim 8">
            <a:extLst>
              <a:ext uri="{FF2B5EF4-FFF2-40B4-BE49-F238E27FC236}">
                <a16:creationId xmlns:a16="http://schemas.microsoft.com/office/drawing/2014/main" id="{89282258-C825-1AFE-1DFC-68E68205B1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63278" y="201180"/>
            <a:ext cx="5620620" cy="2596243"/>
          </a:xfrm>
          <a:prstGeom prst="rect">
            <a:avLst/>
          </a:prstGeom>
        </p:spPr>
      </p:pic>
      <p:sp>
        <p:nvSpPr>
          <p:cNvPr id="10" name="Oval 9">
            <a:extLst>
              <a:ext uri="{FF2B5EF4-FFF2-40B4-BE49-F238E27FC236}">
                <a16:creationId xmlns:a16="http://schemas.microsoft.com/office/drawing/2014/main" id="{1DD2A976-7F6E-46BA-DCAA-C4AB582C1A7A}"/>
              </a:ext>
            </a:extLst>
          </p:cNvPr>
          <p:cNvSpPr/>
          <p:nvPr/>
        </p:nvSpPr>
        <p:spPr>
          <a:xfrm rot="16200000">
            <a:off x="4359242" y="4628658"/>
            <a:ext cx="914398" cy="2956451"/>
          </a:xfrm>
          <a:prstGeom prst="ellipse">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5" name="Oval 34">
            <a:extLst>
              <a:ext uri="{FF2B5EF4-FFF2-40B4-BE49-F238E27FC236}">
                <a16:creationId xmlns:a16="http://schemas.microsoft.com/office/drawing/2014/main" id="{8441FBA8-5E1C-AEF9-A717-4FFC30C2A205}"/>
              </a:ext>
            </a:extLst>
          </p:cNvPr>
          <p:cNvSpPr/>
          <p:nvPr/>
        </p:nvSpPr>
        <p:spPr>
          <a:xfrm>
            <a:off x="0" y="2819400"/>
            <a:ext cx="2286000" cy="911679"/>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Tree>
    <p:extLst>
      <p:ext uri="{BB962C8B-B14F-4D97-AF65-F5344CB8AC3E}">
        <p14:creationId xmlns:p14="http://schemas.microsoft.com/office/powerpoint/2010/main" val="311763082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7FC49301-6A4C-5DDE-7F4C-870E5AC3F92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589471" y="1867250"/>
            <a:ext cx="4715768" cy="3536826"/>
          </a:xfrm>
          <a:prstGeom prst="rect">
            <a:avLst/>
          </a:prstGeom>
        </p:spPr>
      </p:pic>
      <p:pic>
        <p:nvPicPr>
          <p:cNvPr id="6" name="Resim 5">
            <a:extLst>
              <a:ext uri="{FF2B5EF4-FFF2-40B4-BE49-F238E27FC236}">
                <a16:creationId xmlns:a16="http://schemas.microsoft.com/office/drawing/2014/main" id="{F29A1FE2-3A7E-8D61-82A7-1A320CB7EC5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21059" y="0"/>
            <a:ext cx="3168981" cy="6858000"/>
          </a:xfrm>
          <a:prstGeom prst="rect">
            <a:avLst/>
          </a:prstGeom>
        </p:spPr>
      </p:pic>
      <p:pic>
        <p:nvPicPr>
          <p:cNvPr id="7" name="Resim 6">
            <a:extLst>
              <a:ext uri="{FF2B5EF4-FFF2-40B4-BE49-F238E27FC236}">
                <a16:creationId xmlns:a16="http://schemas.microsoft.com/office/drawing/2014/main" id="{48714759-9335-39D3-07D5-5BC96C67C5E1}"/>
              </a:ext>
            </a:extLst>
          </p:cNvPr>
          <p:cNvPicPr>
            <a:picLocks noChangeAspect="1"/>
          </p:cNvPicPr>
          <p:nvPr/>
        </p:nvPicPr>
        <p:blipFill rotWithShape="1">
          <a:blip r:embed="rId4">
            <a:extLst>
              <a:ext uri="{28A0092B-C50C-407E-A947-70E740481C1C}">
                <a14:useLocalDpi xmlns:a14="http://schemas.microsoft.com/office/drawing/2010/main" val="0"/>
              </a:ext>
            </a:extLst>
          </a:blip>
          <a:srcRect b="14788"/>
          <a:stretch/>
        </p:blipFill>
        <p:spPr>
          <a:xfrm>
            <a:off x="6874273" y="1277779"/>
            <a:ext cx="5232886" cy="2212390"/>
          </a:xfrm>
          <a:prstGeom prst="rect">
            <a:avLst/>
          </a:prstGeom>
        </p:spPr>
      </p:pic>
      <p:pic>
        <p:nvPicPr>
          <p:cNvPr id="8" name="Resim 7">
            <a:extLst>
              <a:ext uri="{FF2B5EF4-FFF2-40B4-BE49-F238E27FC236}">
                <a16:creationId xmlns:a16="http://schemas.microsoft.com/office/drawing/2014/main" id="{FABF4B57-8C81-1AC8-2A96-9EB2B3BC86F9}"/>
              </a:ext>
            </a:extLst>
          </p:cNvPr>
          <p:cNvPicPr>
            <a:picLocks noChangeAspect="1"/>
          </p:cNvPicPr>
          <p:nvPr/>
        </p:nvPicPr>
        <p:blipFill rotWithShape="1">
          <a:blip r:embed="rId5">
            <a:extLst>
              <a:ext uri="{28A0092B-C50C-407E-A947-70E740481C1C}">
                <a14:useLocalDpi xmlns:a14="http://schemas.microsoft.com/office/drawing/2010/main" val="0"/>
              </a:ext>
            </a:extLst>
          </a:blip>
          <a:srcRect t="10775" b="20244"/>
          <a:stretch/>
        </p:blipFill>
        <p:spPr>
          <a:xfrm>
            <a:off x="6874274" y="3890120"/>
            <a:ext cx="5232886" cy="2212390"/>
          </a:xfrm>
          <a:prstGeom prst="rect">
            <a:avLst/>
          </a:prstGeom>
        </p:spPr>
      </p:pic>
      <p:sp>
        <p:nvSpPr>
          <p:cNvPr id="9" name="Oval 8">
            <a:extLst>
              <a:ext uri="{FF2B5EF4-FFF2-40B4-BE49-F238E27FC236}">
                <a16:creationId xmlns:a16="http://schemas.microsoft.com/office/drawing/2014/main" id="{6BA00EDE-AA8F-F24A-645E-A8429C9A6038}"/>
              </a:ext>
            </a:extLst>
          </p:cNvPr>
          <p:cNvSpPr/>
          <p:nvPr/>
        </p:nvSpPr>
        <p:spPr>
          <a:xfrm>
            <a:off x="1946284" y="2796945"/>
            <a:ext cx="862230" cy="1342347"/>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0" name="Oval 9">
            <a:extLst>
              <a:ext uri="{FF2B5EF4-FFF2-40B4-BE49-F238E27FC236}">
                <a16:creationId xmlns:a16="http://schemas.microsoft.com/office/drawing/2014/main" id="{F3360E90-373F-8847-7BCA-36443887575A}"/>
              </a:ext>
            </a:extLst>
          </p:cNvPr>
          <p:cNvSpPr/>
          <p:nvPr/>
        </p:nvSpPr>
        <p:spPr>
          <a:xfrm rot="16200000">
            <a:off x="4781006" y="4097983"/>
            <a:ext cx="849086" cy="2613548"/>
          </a:xfrm>
          <a:prstGeom prst="ellipse">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1" name="Resim 10" descr="metin, logo içeren bir resim&#10;&#10;Açıklama otomatik olarak oluşturuldu">
            <a:extLst>
              <a:ext uri="{FF2B5EF4-FFF2-40B4-BE49-F238E27FC236}">
                <a16:creationId xmlns:a16="http://schemas.microsoft.com/office/drawing/2014/main" id="{25A4D7AD-5CDF-890B-E264-E2B9AF9F9424}"/>
              </a:ext>
            </a:extLst>
          </p:cNvPr>
          <p:cNvPicPr>
            <a:picLocks noChangeAspect="1"/>
          </p:cNvPicPr>
          <p:nvPr/>
        </p:nvPicPr>
        <p:blipFill>
          <a:blip r:embed="rId6"/>
          <a:stretch>
            <a:fillRect/>
          </a:stretch>
        </p:blipFill>
        <p:spPr>
          <a:xfrm>
            <a:off x="9055703" y="141629"/>
            <a:ext cx="3027384" cy="703866"/>
          </a:xfrm>
          <a:prstGeom prst="rect">
            <a:avLst/>
          </a:prstGeom>
        </p:spPr>
      </p:pic>
    </p:spTree>
    <p:extLst>
      <p:ext uri="{BB962C8B-B14F-4D97-AF65-F5344CB8AC3E}">
        <p14:creationId xmlns:p14="http://schemas.microsoft.com/office/powerpoint/2010/main" val="410031369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pic>
        <p:nvPicPr>
          <p:cNvPr id="4" name="Resim 3">
            <a:extLst>
              <a:ext uri="{FF2B5EF4-FFF2-40B4-BE49-F238E27FC236}">
                <a16:creationId xmlns:a16="http://schemas.microsoft.com/office/drawing/2014/main" id="{E9CEC065-59E5-14AC-4A03-1438220D75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50392" y="850392"/>
            <a:ext cx="6858000" cy="5157216"/>
          </a:xfrm>
          <a:prstGeom prst="rect">
            <a:avLst/>
          </a:prstGeom>
        </p:spPr>
      </p:pic>
      <p:pic>
        <p:nvPicPr>
          <p:cNvPr id="2" name="Resim 1">
            <a:extLst>
              <a:ext uri="{FF2B5EF4-FFF2-40B4-BE49-F238E27FC236}">
                <a16:creationId xmlns:a16="http://schemas.microsoft.com/office/drawing/2014/main" id="{2446496D-7770-109E-0B63-8A6BAF83271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17012" y="0"/>
            <a:ext cx="3168763" cy="6858000"/>
          </a:xfrm>
          <a:prstGeom prst="rect">
            <a:avLst/>
          </a:prstGeom>
        </p:spPr>
      </p:pic>
      <p:pic>
        <p:nvPicPr>
          <p:cNvPr id="3" name="Resim 2">
            <a:extLst>
              <a:ext uri="{FF2B5EF4-FFF2-40B4-BE49-F238E27FC236}">
                <a16:creationId xmlns:a16="http://schemas.microsoft.com/office/drawing/2014/main" id="{E9A64043-F0D1-FA42-6E0F-4995DC51B93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39200" y="0"/>
            <a:ext cx="3168763" cy="6858000"/>
          </a:xfrm>
          <a:prstGeom prst="rect">
            <a:avLst/>
          </a:prstGeom>
        </p:spPr>
      </p:pic>
      <p:sp>
        <p:nvSpPr>
          <p:cNvPr id="5" name="Oval 4">
            <a:extLst>
              <a:ext uri="{FF2B5EF4-FFF2-40B4-BE49-F238E27FC236}">
                <a16:creationId xmlns:a16="http://schemas.microsoft.com/office/drawing/2014/main" id="{69CE38BA-C08F-6773-01B5-7DD863B25718}"/>
              </a:ext>
            </a:extLst>
          </p:cNvPr>
          <p:cNvSpPr/>
          <p:nvPr/>
        </p:nvSpPr>
        <p:spPr>
          <a:xfrm>
            <a:off x="2936421" y="2543507"/>
            <a:ext cx="1472293" cy="599744"/>
          </a:xfrm>
          <a:prstGeom prst="ellipse">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
        <p:nvSpPr>
          <p:cNvPr id="7" name="Oval 6">
            <a:extLst>
              <a:ext uri="{FF2B5EF4-FFF2-40B4-BE49-F238E27FC236}">
                <a16:creationId xmlns:a16="http://schemas.microsoft.com/office/drawing/2014/main" id="{16685077-CF72-F5F4-FBFE-81900A687937}"/>
              </a:ext>
            </a:extLst>
          </p:cNvPr>
          <p:cNvSpPr/>
          <p:nvPr/>
        </p:nvSpPr>
        <p:spPr>
          <a:xfrm>
            <a:off x="10023706" y="5410200"/>
            <a:ext cx="1752600" cy="76200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
        <p:nvSpPr>
          <p:cNvPr id="9" name="Oval 8">
            <a:extLst>
              <a:ext uri="{FF2B5EF4-FFF2-40B4-BE49-F238E27FC236}">
                <a16:creationId xmlns:a16="http://schemas.microsoft.com/office/drawing/2014/main" id="{3705E84B-FBC6-B31C-7A7F-8656E0F356AA}"/>
              </a:ext>
            </a:extLst>
          </p:cNvPr>
          <p:cNvSpPr/>
          <p:nvPr/>
        </p:nvSpPr>
        <p:spPr>
          <a:xfrm>
            <a:off x="6572250" y="5410200"/>
            <a:ext cx="1763486" cy="949779"/>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
        <p:nvSpPr>
          <p:cNvPr id="10" name="Oval 9">
            <a:extLst>
              <a:ext uri="{FF2B5EF4-FFF2-40B4-BE49-F238E27FC236}">
                <a16:creationId xmlns:a16="http://schemas.microsoft.com/office/drawing/2014/main" id="{23550D54-0D1E-9FB2-F16F-D54C7B58A45E}"/>
              </a:ext>
            </a:extLst>
          </p:cNvPr>
          <p:cNvSpPr/>
          <p:nvPr/>
        </p:nvSpPr>
        <p:spPr>
          <a:xfrm>
            <a:off x="3296186" y="1921329"/>
            <a:ext cx="1329409" cy="54428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ln w="38100">
                <a:solidFill>
                  <a:srgbClr val="FF0000"/>
                </a:solidFill>
              </a:ln>
              <a:noFill/>
            </a:endParaRPr>
          </a:p>
        </p:txBody>
      </p:sp>
    </p:spTree>
    <p:extLst>
      <p:ext uri="{BB962C8B-B14F-4D97-AF65-F5344CB8AC3E}">
        <p14:creationId xmlns:p14="http://schemas.microsoft.com/office/powerpoint/2010/main" val="26107083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1" y="88437"/>
            <a:ext cx="65" cy="20412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3225" rIns="0" bIns="-13225" numCol="1" anchor="ctr" anchorCtr="0" compatLnSpc="1">
            <a:prstTxWarp prst="textNoShape">
              <a:avLst/>
            </a:prstTxWarp>
            <a:spAutoFit/>
          </a:bodyPr>
          <a:lstStyle/>
          <a:p>
            <a:pPr defTabSz="761970" eaLnBrk="0" fontAlgn="base" hangingPunct="0">
              <a:spcBef>
                <a:spcPct val="0"/>
              </a:spcBef>
              <a:spcAft>
                <a:spcPct val="0"/>
              </a:spcAft>
            </a:pPr>
            <a:endParaRPr lang="tr-TR" altLang="tr-TR" sz="1500" dirty="0">
              <a:latin typeface="Arial" panose="020B0604020202020204" pitchFamily="34" charset="0"/>
            </a:endParaRPr>
          </a:p>
        </p:txBody>
      </p:sp>
      <p:sp>
        <p:nvSpPr>
          <p:cNvPr id="21" name="Metin kutusu 20">
            <a:extLst>
              <a:ext uri="{FF2B5EF4-FFF2-40B4-BE49-F238E27FC236}">
                <a16:creationId xmlns:a16="http://schemas.microsoft.com/office/drawing/2014/main" id="{177FC833-85B6-F6A4-0714-A54951BAA725}"/>
              </a:ext>
            </a:extLst>
          </p:cNvPr>
          <p:cNvSpPr txBox="1"/>
          <p:nvPr/>
        </p:nvSpPr>
        <p:spPr>
          <a:xfrm>
            <a:off x="291100" y="292562"/>
            <a:ext cx="10000181" cy="472694"/>
          </a:xfrm>
          <a:prstGeom prst="rect">
            <a:avLst/>
          </a:prstGeom>
          <a:noFill/>
        </p:spPr>
        <p:txBody>
          <a:bodyPr wrap="square">
            <a:spAutoFit/>
          </a:bodyPr>
          <a:lstStyle/>
          <a:p>
            <a:pPr>
              <a:lnSpc>
                <a:spcPct val="107000"/>
              </a:lnSpc>
              <a:spcAft>
                <a:spcPts val="667"/>
              </a:spcAft>
            </a:pPr>
            <a:r>
              <a:rPr lang="tr-TR" sz="2417" b="1" dirty="0">
                <a:solidFill>
                  <a:srgbClr val="C00000"/>
                </a:solidFill>
              </a:rPr>
              <a:t>Proses ve Makina Sağlığını Yönetmek İçin Varlık Performansı Platformu </a:t>
            </a:r>
          </a:p>
        </p:txBody>
      </p:sp>
      <p:sp>
        <p:nvSpPr>
          <p:cNvPr id="23" name="Metin kutusu 22">
            <a:extLst>
              <a:ext uri="{FF2B5EF4-FFF2-40B4-BE49-F238E27FC236}">
                <a16:creationId xmlns:a16="http://schemas.microsoft.com/office/drawing/2014/main" id="{8522E007-3154-D1F5-F80A-5770D2FA240B}"/>
              </a:ext>
            </a:extLst>
          </p:cNvPr>
          <p:cNvSpPr txBox="1"/>
          <p:nvPr/>
        </p:nvSpPr>
        <p:spPr>
          <a:xfrm>
            <a:off x="291100" y="1148346"/>
            <a:ext cx="10993349" cy="323165"/>
          </a:xfrm>
          <a:prstGeom prst="rect">
            <a:avLst/>
          </a:prstGeom>
          <a:noFill/>
        </p:spPr>
        <p:txBody>
          <a:bodyPr wrap="square">
            <a:spAutoFit/>
          </a:bodyPr>
          <a:lstStyle/>
          <a:p>
            <a:pPr algn="just"/>
            <a:endParaRPr lang="tr-TR" sz="1500" dirty="0"/>
          </a:p>
        </p:txBody>
      </p:sp>
      <p:sp>
        <p:nvSpPr>
          <p:cNvPr id="25" name="Metin kutusu 24">
            <a:extLst>
              <a:ext uri="{FF2B5EF4-FFF2-40B4-BE49-F238E27FC236}">
                <a16:creationId xmlns:a16="http://schemas.microsoft.com/office/drawing/2014/main" id="{2533B1DC-F72F-339D-8E94-7BB41263FB94}"/>
              </a:ext>
            </a:extLst>
          </p:cNvPr>
          <p:cNvSpPr txBox="1"/>
          <p:nvPr/>
        </p:nvSpPr>
        <p:spPr>
          <a:xfrm>
            <a:off x="291099" y="1148345"/>
            <a:ext cx="6100283" cy="4783041"/>
          </a:xfrm>
          <a:prstGeom prst="rect">
            <a:avLst/>
          </a:prstGeom>
          <a:noFill/>
        </p:spPr>
        <p:txBody>
          <a:bodyPr wrap="square">
            <a:spAutoFit/>
          </a:bodyPr>
          <a:lstStyle/>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Öyle bir platform düşünün ki; sahanızdaki tüm koruma sitemlerinden gelen, online makine sağlığı izleme sistemlerinden gelen, kablosuz inline sistemlerden gelen ve proses iletişim sistemlerinden gelen tüm verileri tek bir platformda topluyor ve üretimi, bakımı, iş güvenliğini ve çalışan sağlığını, çevre sağlığını vs. analitik bilgiye dayalı yönetmenizi sağlıyor.</a:t>
            </a:r>
          </a:p>
          <a:p>
            <a:pPr marL="238115" indent="-238115" algn="just">
              <a:lnSpc>
                <a:spcPct val="106000"/>
              </a:lnSpc>
              <a:spcAft>
                <a:spcPts val="667"/>
              </a:spcAft>
              <a:buFont typeface="Wingdings" panose="05000000000000000000" pitchFamily="2" charset="2"/>
              <a:buChar char="v"/>
            </a:pPr>
            <a:endParaRPr lang="tr-TR" sz="1667" dirty="0"/>
          </a:p>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Bu platform Bakım 4.0 kapsamında binlerce sensor ve iletişim sistemiyle desteklenecek. Bu </a:t>
            </a:r>
            <a:r>
              <a:rPr lang="tr-TR" sz="1667" i="1" dirty="0" err="1">
                <a:solidFill>
                  <a:srgbClr val="000000"/>
                </a:solidFill>
                <a:latin typeface="Arial" panose="020B0604020202020204" pitchFamily="34" charset="0"/>
                <a:ea typeface="Calibri" panose="020F0502020204030204" pitchFamily="34" charset="0"/>
              </a:rPr>
              <a:t>sensorler</a:t>
            </a:r>
            <a:r>
              <a:rPr lang="tr-TR" sz="1667" i="1" dirty="0">
                <a:solidFill>
                  <a:srgbClr val="000000"/>
                </a:solidFill>
                <a:latin typeface="Arial" panose="020B0604020202020204" pitchFamily="34" charset="0"/>
                <a:ea typeface="Calibri" panose="020F0502020204030204" pitchFamily="34" charset="0"/>
              </a:rPr>
              <a:t> ve iletişim sistemleri tesis içindeki tüm üretim makinelerinden ve sistemlerinden gerçek zamanlı otomatik veri toplayacak ve analitik platformunuza yönlendirecek. </a:t>
            </a:r>
          </a:p>
          <a:p>
            <a:pPr marL="238115" indent="-238115" algn="just">
              <a:lnSpc>
                <a:spcPct val="106000"/>
              </a:lnSpc>
              <a:spcAft>
                <a:spcPts val="667"/>
              </a:spcAft>
              <a:buFont typeface="Wingdings" panose="05000000000000000000" pitchFamily="2" charset="2"/>
              <a:buChar char="v"/>
            </a:pPr>
            <a:endParaRPr lang="tr-TR" sz="1667" dirty="0">
              <a:latin typeface="Times New Roman" panose="02020603050405020304" pitchFamily="18" charset="0"/>
              <a:ea typeface="Times New Roman" panose="02020603050405020304" pitchFamily="18" charset="0"/>
            </a:endParaRPr>
          </a:p>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Bu görselleştirilebilir ve eyleme dönüştürülebilir verilerle tüm süreci kontrol altında tutarak yönettiğinizi düşünün. </a:t>
            </a:r>
          </a:p>
        </p:txBody>
      </p:sp>
      <p:pic>
        <p:nvPicPr>
          <p:cNvPr id="2" name="Resim 1">
            <a:extLst>
              <a:ext uri="{FF2B5EF4-FFF2-40B4-BE49-F238E27FC236}">
                <a16:creationId xmlns:a16="http://schemas.microsoft.com/office/drawing/2014/main" id="{519FFFD3-630F-2A1C-7738-7046400A28C4}"/>
              </a:ext>
            </a:extLst>
          </p:cNvPr>
          <p:cNvPicPr>
            <a:picLocks noChangeAspect="1"/>
          </p:cNvPicPr>
          <p:nvPr/>
        </p:nvPicPr>
        <p:blipFill>
          <a:blip r:embed="rId2"/>
          <a:stretch>
            <a:fillRect/>
          </a:stretch>
        </p:blipFill>
        <p:spPr>
          <a:xfrm>
            <a:off x="6546710" y="1048285"/>
            <a:ext cx="5191515" cy="4949657"/>
          </a:xfrm>
          <a:prstGeom prst="rect">
            <a:avLst/>
          </a:prstGeom>
        </p:spPr>
      </p:pic>
    </p:spTree>
    <p:extLst>
      <p:ext uri="{BB962C8B-B14F-4D97-AF65-F5344CB8AC3E}">
        <p14:creationId xmlns:p14="http://schemas.microsoft.com/office/powerpoint/2010/main" val="52585061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1" y="88437"/>
            <a:ext cx="65" cy="20412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3225" rIns="0" bIns="-13225" numCol="1" anchor="ctr" anchorCtr="0" compatLnSpc="1">
            <a:prstTxWarp prst="textNoShape">
              <a:avLst/>
            </a:prstTxWarp>
            <a:spAutoFit/>
          </a:bodyPr>
          <a:lstStyle/>
          <a:p>
            <a:pPr defTabSz="761970" eaLnBrk="0" fontAlgn="base" hangingPunct="0">
              <a:spcBef>
                <a:spcPct val="0"/>
              </a:spcBef>
              <a:spcAft>
                <a:spcPct val="0"/>
              </a:spcAft>
            </a:pPr>
            <a:endParaRPr lang="tr-TR" altLang="tr-TR" sz="1500" dirty="0">
              <a:latin typeface="Arial" panose="020B0604020202020204" pitchFamily="34" charset="0"/>
            </a:endParaRPr>
          </a:p>
        </p:txBody>
      </p:sp>
      <p:sp>
        <p:nvSpPr>
          <p:cNvPr id="21" name="Metin kutusu 20">
            <a:extLst>
              <a:ext uri="{FF2B5EF4-FFF2-40B4-BE49-F238E27FC236}">
                <a16:creationId xmlns:a16="http://schemas.microsoft.com/office/drawing/2014/main" id="{177FC833-85B6-F6A4-0714-A54951BAA725}"/>
              </a:ext>
            </a:extLst>
          </p:cNvPr>
          <p:cNvSpPr txBox="1"/>
          <p:nvPr/>
        </p:nvSpPr>
        <p:spPr>
          <a:xfrm>
            <a:off x="291100" y="292562"/>
            <a:ext cx="10000181" cy="472694"/>
          </a:xfrm>
          <a:prstGeom prst="rect">
            <a:avLst/>
          </a:prstGeom>
          <a:noFill/>
        </p:spPr>
        <p:txBody>
          <a:bodyPr wrap="square">
            <a:spAutoFit/>
          </a:bodyPr>
          <a:lstStyle/>
          <a:p>
            <a:pPr>
              <a:lnSpc>
                <a:spcPct val="107000"/>
              </a:lnSpc>
              <a:spcAft>
                <a:spcPts val="667"/>
              </a:spcAft>
            </a:pPr>
            <a:r>
              <a:rPr lang="tr-TR" sz="2417" b="1" dirty="0">
                <a:solidFill>
                  <a:srgbClr val="C00000"/>
                </a:solidFill>
              </a:rPr>
              <a:t>Proses ve Makina Sağlığını Yönetmek İçin Varlık Performansı Platformu </a:t>
            </a:r>
          </a:p>
        </p:txBody>
      </p:sp>
      <p:sp>
        <p:nvSpPr>
          <p:cNvPr id="23" name="Metin kutusu 22">
            <a:extLst>
              <a:ext uri="{FF2B5EF4-FFF2-40B4-BE49-F238E27FC236}">
                <a16:creationId xmlns:a16="http://schemas.microsoft.com/office/drawing/2014/main" id="{8522E007-3154-D1F5-F80A-5770D2FA240B}"/>
              </a:ext>
            </a:extLst>
          </p:cNvPr>
          <p:cNvSpPr txBox="1"/>
          <p:nvPr/>
        </p:nvSpPr>
        <p:spPr>
          <a:xfrm>
            <a:off x="291100" y="1148346"/>
            <a:ext cx="10993349" cy="323165"/>
          </a:xfrm>
          <a:prstGeom prst="rect">
            <a:avLst/>
          </a:prstGeom>
          <a:noFill/>
        </p:spPr>
        <p:txBody>
          <a:bodyPr wrap="square">
            <a:spAutoFit/>
          </a:bodyPr>
          <a:lstStyle/>
          <a:p>
            <a:pPr algn="just"/>
            <a:endParaRPr lang="tr-TR" sz="1500" dirty="0"/>
          </a:p>
        </p:txBody>
      </p:sp>
      <p:sp>
        <p:nvSpPr>
          <p:cNvPr id="25" name="Metin kutusu 24">
            <a:extLst>
              <a:ext uri="{FF2B5EF4-FFF2-40B4-BE49-F238E27FC236}">
                <a16:creationId xmlns:a16="http://schemas.microsoft.com/office/drawing/2014/main" id="{2533B1DC-F72F-339D-8E94-7BB41263FB94}"/>
              </a:ext>
            </a:extLst>
          </p:cNvPr>
          <p:cNvSpPr txBox="1"/>
          <p:nvPr/>
        </p:nvSpPr>
        <p:spPr>
          <a:xfrm>
            <a:off x="192640" y="1047522"/>
            <a:ext cx="11806721" cy="1340303"/>
          </a:xfrm>
          <a:prstGeom prst="rect">
            <a:avLst/>
          </a:prstGeom>
          <a:noFill/>
        </p:spPr>
        <p:txBody>
          <a:bodyPr wrap="square">
            <a:spAutoFit/>
          </a:bodyPr>
          <a:lstStyle/>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Tüm sensörlerden gelen gerçek zamanlı durum verilerine dayanarak, analitik düşünerek bakım yapıp yapmayacağınıza karar verdiğinizi düşünün. </a:t>
            </a:r>
          </a:p>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Ya da o platformun sizin için otomatik KPI raporları hazırladığını düşünün.</a:t>
            </a:r>
          </a:p>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Sizlerin belirlediği set değerlerine göre alarmları kumanda odasında görselleştirdiğinizi düşünün.</a:t>
            </a:r>
          </a:p>
        </p:txBody>
      </p:sp>
      <p:pic>
        <p:nvPicPr>
          <p:cNvPr id="2" name="Resim 1">
            <a:extLst>
              <a:ext uri="{FF2B5EF4-FFF2-40B4-BE49-F238E27FC236}">
                <a16:creationId xmlns:a16="http://schemas.microsoft.com/office/drawing/2014/main" id="{6F380DF3-D79C-E903-8105-73FC87638DD3}"/>
              </a:ext>
            </a:extLst>
          </p:cNvPr>
          <p:cNvPicPr>
            <a:picLocks noChangeAspect="1"/>
          </p:cNvPicPr>
          <p:nvPr/>
        </p:nvPicPr>
        <p:blipFill rotWithShape="1">
          <a:blip r:embed="rId2"/>
          <a:srcRect l="5998" t="5436" r="4667"/>
          <a:stretch/>
        </p:blipFill>
        <p:spPr>
          <a:xfrm>
            <a:off x="291099" y="2669816"/>
            <a:ext cx="7842607" cy="3895623"/>
          </a:xfrm>
          <a:prstGeom prst="rect">
            <a:avLst/>
          </a:prstGeom>
        </p:spPr>
      </p:pic>
      <p:pic>
        <p:nvPicPr>
          <p:cNvPr id="3" name="Resim 2">
            <a:extLst>
              <a:ext uri="{FF2B5EF4-FFF2-40B4-BE49-F238E27FC236}">
                <a16:creationId xmlns:a16="http://schemas.microsoft.com/office/drawing/2014/main" id="{FA489C83-EE8E-72E4-D81A-0E25419B6DE0}"/>
              </a:ext>
            </a:extLst>
          </p:cNvPr>
          <p:cNvPicPr>
            <a:picLocks noChangeAspect="1"/>
          </p:cNvPicPr>
          <p:nvPr/>
        </p:nvPicPr>
        <p:blipFill rotWithShape="1">
          <a:blip r:embed="rId3"/>
          <a:srcRect l="1727" t="22463" r="2060" b="42581"/>
          <a:stretch/>
        </p:blipFill>
        <p:spPr>
          <a:xfrm>
            <a:off x="7788907" y="2097788"/>
            <a:ext cx="4263775" cy="2065497"/>
          </a:xfrm>
          <a:prstGeom prst="rect">
            <a:avLst/>
          </a:prstGeom>
        </p:spPr>
      </p:pic>
      <p:pic>
        <p:nvPicPr>
          <p:cNvPr id="4" name="Google Shape;1457;p41" descr="https://lh4.googleusercontent.com/gIO78kIK1pFuzHQAfx0fXe5wpeiQQ9wQB8tC1jNjdtVoLdLkvwSXcp58JoACoTiVV30d-JMUZpzpUFEg84srTorUwFY4Uw1VVpaH3jfJMxYIuAJAkNopsztYRyG0nSwswfbUZYlbhMQ">
            <a:extLst>
              <a:ext uri="{FF2B5EF4-FFF2-40B4-BE49-F238E27FC236}">
                <a16:creationId xmlns:a16="http://schemas.microsoft.com/office/drawing/2014/main" id="{896C0B9F-E4CC-6B1A-BAA1-B9C6375D95BD}"/>
              </a:ext>
            </a:extLst>
          </p:cNvPr>
          <p:cNvPicPr preferRelativeResize="0"/>
          <p:nvPr/>
        </p:nvPicPr>
        <p:blipFill rotWithShape="1">
          <a:blip r:embed="rId4">
            <a:alphaModFix/>
          </a:blip>
          <a:srcRect l="9578" r="9659" b="8265"/>
          <a:stretch/>
        </p:blipFill>
        <p:spPr>
          <a:xfrm>
            <a:off x="8212666" y="4242170"/>
            <a:ext cx="3578168" cy="2065497"/>
          </a:xfrm>
          <a:prstGeom prst="rect">
            <a:avLst/>
          </a:prstGeom>
          <a:noFill/>
          <a:ln>
            <a:noFill/>
          </a:ln>
          <a:effectLst>
            <a:outerShdw blurRad="292100" dist="139700" dir="2700000" algn="tl" rotWithShape="0">
              <a:srgbClr val="333333">
                <a:alpha val="64705"/>
              </a:srgbClr>
            </a:outerShdw>
          </a:effectLst>
        </p:spPr>
      </p:pic>
    </p:spTree>
    <p:extLst>
      <p:ext uri="{BB962C8B-B14F-4D97-AF65-F5344CB8AC3E}">
        <p14:creationId xmlns:p14="http://schemas.microsoft.com/office/powerpoint/2010/main" val="11602041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1" y="88437"/>
            <a:ext cx="65" cy="20412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3225" rIns="0" bIns="-13225" numCol="1" anchor="ctr" anchorCtr="0" compatLnSpc="1">
            <a:prstTxWarp prst="textNoShape">
              <a:avLst/>
            </a:prstTxWarp>
            <a:spAutoFit/>
          </a:bodyPr>
          <a:lstStyle/>
          <a:p>
            <a:pPr defTabSz="761970" eaLnBrk="0" fontAlgn="base" hangingPunct="0">
              <a:spcBef>
                <a:spcPct val="0"/>
              </a:spcBef>
              <a:spcAft>
                <a:spcPct val="0"/>
              </a:spcAft>
            </a:pPr>
            <a:endParaRPr lang="tr-TR" altLang="tr-TR" sz="1500" dirty="0">
              <a:latin typeface="Arial" panose="020B0604020202020204" pitchFamily="34" charset="0"/>
            </a:endParaRPr>
          </a:p>
        </p:txBody>
      </p:sp>
      <p:sp>
        <p:nvSpPr>
          <p:cNvPr id="23" name="Metin kutusu 22">
            <a:extLst>
              <a:ext uri="{FF2B5EF4-FFF2-40B4-BE49-F238E27FC236}">
                <a16:creationId xmlns:a16="http://schemas.microsoft.com/office/drawing/2014/main" id="{8522E007-3154-D1F5-F80A-5770D2FA240B}"/>
              </a:ext>
            </a:extLst>
          </p:cNvPr>
          <p:cNvSpPr txBox="1"/>
          <p:nvPr/>
        </p:nvSpPr>
        <p:spPr>
          <a:xfrm>
            <a:off x="291100" y="1148346"/>
            <a:ext cx="10993349" cy="323165"/>
          </a:xfrm>
          <a:prstGeom prst="rect">
            <a:avLst/>
          </a:prstGeom>
          <a:noFill/>
        </p:spPr>
        <p:txBody>
          <a:bodyPr wrap="square">
            <a:spAutoFit/>
          </a:bodyPr>
          <a:lstStyle/>
          <a:p>
            <a:pPr algn="just"/>
            <a:endParaRPr lang="tr-TR" sz="1500" dirty="0"/>
          </a:p>
        </p:txBody>
      </p:sp>
      <p:sp>
        <p:nvSpPr>
          <p:cNvPr id="25" name="Metin kutusu 24">
            <a:extLst>
              <a:ext uri="{FF2B5EF4-FFF2-40B4-BE49-F238E27FC236}">
                <a16:creationId xmlns:a16="http://schemas.microsoft.com/office/drawing/2014/main" id="{2533B1DC-F72F-339D-8E94-7BB41263FB94}"/>
              </a:ext>
            </a:extLst>
          </p:cNvPr>
          <p:cNvSpPr txBox="1"/>
          <p:nvPr/>
        </p:nvSpPr>
        <p:spPr>
          <a:xfrm>
            <a:off x="94177" y="3350482"/>
            <a:ext cx="11926587" cy="2788264"/>
          </a:xfrm>
          <a:prstGeom prst="rect">
            <a:avLst/>
          </a:prstGeom>
          <a:noFill/>
        </p:spPr>
        <p:txBody>
          <a:bodyPr wrap="square">
            <a:spAutoFit/>
          </a:bodyPr>
          <a:lstStyle/>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Akıllı telefon uygulamaları ile SMS, E-mail ve bildirimler alarak arızalardan haberdar olduğunuzu düşünün.</a:t>
            </a:r>
          </a:p>
          <a:p>
            <a:pPr marL="238115" indent="-238115" algn="just">
              <a:lnSpc>
                <a:spcPct val="106000"/>
              </a:lnSpc>
              <a:spcAft>
                <a:spcPts val="667"/>
              </a:spcAft>
              <a:buFont typeface="Wingdings" panose="05000000000000000000" pitchFamily="2" charset="2"/>
              <a:buChar char="v"/>
            </a:pPr>
            <a:endParaRPr lang="tr-TR" sz="1667" i="1" dirty="0">
              <a:solidFill>
                <a:srgbClr val="000000"/>
              </a:solidFill>
              <a:latin typeface="Arial" panose="020B0604020202020204" pitchFamily="34" charset="0"/>
              <a:ea typeface="Calibri" panose="020F0502020204030204" pitchFamily="34" charset="0"/>
            </a:endParaRPr>
          </a:p>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İnternetin olduğu her lokasyonda akıllı telefondan dahi ulaşabildiğiniz arıza spektrumları, KPI ölçümleri olduğunu uzaktan akıllı telefonunuzla bir tuşla ölçümler aldırdığınızı düşünün.</a:t>
            </a:r>
          </a:p>
          <a:p>
            <a:pPr marL="238115" indent="-238115" algn="just">
              <a:lnSpc>
                <a:spcPct val="106000"/>
              </a:lnSpc>
              <a:spcAft>
                <a:spcPts val="667"/>
              </a:spcAft>
              <a:buFont typeface="Wingdings" panose="05000000000000000000" pitchFamily="2" charset="2"/>
              <a:buChar char="v"/>
            </a:pPr>
            <a:endParaRPr lang="tr-TR" sz="1667" i="1" dirty="0">
              <a:solidFill>
                <a:srgbClr val="000000"/>
              </a:solidFill>
              <a:latin typeface="Arial" panose="020B0604020202020204" pitchFamily="34" charset="0"/>
              <a:ea typeface="Calibri" panose="020F0502020204030204" pitchFamily="34" charset="0"/>
            </a:endParaRPr>
          </a:p>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İnternetin olduğu her lokasyonda akıllı telefondan dahi ulaşabildiğiniz </a:t>
            </a:r>
            <a:r>
              <a:rPr lang="tr-TR" sz="1667" i="1" dirty="0" err="1">
                <a:solidFill>
                  <a:srgbClr val="000000"/>
                </a:solidFill>
                <a:latin typeface="Arial" panose="020B0604020202020204" pitchFamily="34" charset="0"/>
                <a:ea typeface="Calibri" panose="020F0502020204030204" pitchFamily="34" charset="0"/>
              </a:rPr>
              <a:t>dashbord</a:t>
            </a:r>
            <a:r>
              <a:rPr lang="tr-TR" sz="1667" i="1" dirty="0">
                <a:solidFill>
                  <a:srgbClr val="000000"/>
                </a:solidFill>
                <a:latin typeface="Arial" panose="020B0604020202020204" pitchFamily="34" charset="0"/>
                <a:ea typeface="Calibri" panose="020F0502020204030204" pitchFamily="34" charset="0"/>
              </a:rPr>
              <a:t> ekranlarının olduğunu düşünün. </a:t>
            </a:r>
          </a:p>
          <a:p>
            <a:pPr marL="238115" indent="-238115" algn="just">
              <a:lnSpc>
                <a:spcPct val="106000"/>
              </a:lnSpc>
              <a:spcAft>
                <a:spcPts val="667"/>
              </a:spcAft>
              <a:buFont typeface="Wingdings" panose="05000000000000000000" pitchFamily="2" charset="2"/>
              <a:buChar char="v"/>
            </a:pPr>
            <a:endParaRPr lang="tr-TR" sz="1667" i="1" dirty="0">
              <a:solidFill>
                <a:srgbClr val="000000"/>
              </a:solidFill>
              <a:latin typeface="Arial" panose="020B0604020202020204" pitchFamily="34" charset="0"/>
              <a:ea typeface="Calibri" panose="020F0502020204030204" pitchFamily="34" charset="0"/>
            </a:endParaRPr>
          </a:p>
          <a:p>
            <a:pPr marL="238115" indent="-238115" algn="just">
              <a:lnSpc>
                <a:spcPct val="106000"/>
              </a:lnSpc>
              <a:spcAft>
                <a:spcPts val="667"/>
              </a:spcAft>
              <a:buFont typeface="Wingdings" panose="05000000000000000000" pitchFamily="2" charset="2"/>
              <a:buChar char="v"/>
            </a:pPr>
            <a:r>
              <a:rPr lang="tr-TR" sz="1667" i="1" dirty="0">
                <a:solidFill>
                  <a:srgbClr val="000000"/>
                </a:solidFill>
                <a:latin typeface="Arial" panose="020B0604020202020204" pitchFamily="34" charset="0"/>
                <a:ea typeface="Calibri" panose="020F0502020204030204" pitchFamily="34" charset="0"/>
              </a:rPr>
              <a:t>Kablosuz </a:t>
            </a:r>
            <a:r>
              <a:rPr lang="tr-TR" sz="1667" i="1" dirty="0" err="1">
                <a:solidFill>
                  <a:srgbClr val="000000"/>
                </a:solidFill>
                <a:latin typeface="Arial" panose="020B0604020202020204" pitchFamily="34" charset="0"/>
                <a:ea typeface="Calibri" panose="020F0502020204030204" pitchFamily="34" charset="0"/>
              </a:rPr>
              <a:t>sensorler</a:t>
            </a:r>
            <a:r>
              <a:rPr lang="tr-TR" sz="1667" i="1" dirty="0">
                <a:solidFill>
                  <a:srgbClr val="000000"/>
                </a:solidFill>
                <a:latin typeface="Arial" panose="020B0604020202020204" pitchFamily="34" charset="0"/>
                <a:ea typeface="Calibri" panose="020F0502020204030204" pitchFamily="34" charset="0"/>
              </a:rPr>
              <a:t> ile iş güvenliği açısından tehlikeli lokasyonlarda bulunan ekipmanları uzaktan takip ettiğinizi düşünün. </a:t>
            </a:r>
            <a:endParaRPr lang="tr-TR" sz="1667" dirty="0">
              <a:latin typeface="Times New Roman" panose="02020603050405020304" pitchFamily="18" charset="0"/>
              <a:ea typeface="Times New Roman" panose="02020603050405020304" pitchFamily="18" charset="0"/>
            </a:endParaRPr>
          </a:p>
        </p:txBody>
      </p:sp>
      <p:pic>
        <p:nvPicPr>
          <p:cNvPr id="2" name="Resim 1">
            <a:extLst>
              <a:ext uri="{FF2B5EF4-FFF2-40B4-BE49-F238E27FC236}">
                <a16:creationId xmlns:a16="http://schemas.microsoft.com/office/drawing/2014/main" id="{C490B25D-ADAF-05DB-8486-4CCDE2B8D309}"/>
              </a:ext>
            </a:extLst>
          </p:cNvPr>
          <p:cNvPicPr>
            <a:picLocks noChangeAspect="1"/>
          </p:cNvPicPr>
          <p:nvPr/>
        </p:nvPicPr>
        <p:blipFill>
          <a:blip r:embed="rId2"/>
          <a:stretch>
            <a:fillRect/>
          </a:stretch>
        </p:blipFill>
        <p:spPr>
          <a:xfrm>
            <a:off x="0" y="0"/>
            <a:ext cx="12192000" cy="3039438"/>
          </a:xfrm>
          <a:prstGeom prst="rect">
            <a:avLst/>
          </a:prstGeom>
        </p:spPr>
      </p:pic>
    </p:spTree>
    <p:extLst>
      <p:ext uri="{BB962C8B-B14F-4D97-AF65-F5344CB8AC3E}">
        <p14:creationId xmlns:p14="http://schemas.microsoft.com/office/powerpoint/2010/main" val="332563989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Resim 8" descr="metin, kişi, kask içeren bir resim&#10;&#10;Açıklama otomatik olarak oluşturuldu">
            <a:extLst>
              <a:ext uri="{FF2B5EF4-FFF2-40B4-BE49-F238E27FC236}">
                <a16:creationId xmlns:a16="http://schemas.microsoft.com/office/drawing/2014/main" id="{BC3E2CC6-6E8D-A747-D2F5-6FDBFAA025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38824"/>
            <a:ext cx="12192000" cy="6858000"/>
          </a:xfrm>
          <a:prstGeom prst="rect">
            <a:avLst/>
          </a:prstGeom>
        </p:spPr>
      </p:pic>
      <p:pic>
        <p:nvPicPr>
          <p:cNvPr id="14" name="Resim 13">
            <a:extLst>
              <a:ext uri="{FF2B5EF4-FFF2-40B4-BE49-F238E27FC236}">
                <a16:creationId xmlns:a16="http://schemas.microsoft.com/office/drawing/2014/main" id="{06525AE6-99F1-9EC7-5DEF-5CF00262D16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82533" y="208864"/>
            <a:ext cx="1354095" cy="479973"/>
          </a:xfrm>
          <a:prstGeom prst="rect">
            <a:avLst/>
          </a:prstGeom>
        </p:spPr>
      </p:pic>
      <p:pic>
        <p:nvPicPr>
          <p:cNvPr id="4" name="Resim 3" descr="logo içeren bir resim&#10;&#10;Açıklama otomatik olarak oluşturuldu">
            <a:extLst>
              <a:ext uri="{FF2B5EF4-FFF2-40B4-BE49-F238E27FC236}">
                <a16:creationId xmlns:a16="http://schemas.microsoft.com/office/drawing/2014/main" id="{07E96E8D-D522-22E9-11F6-E018E2A5AF39}"/>
              </a:ext>
            </a:extLst>
          </p:cNvPr>
          <p:cNvPicPr>
            <a:picLocks noChangeAspect="1"/>
          </p:cNvPicPr>
          <p:nvPr/>
        </p:nvPicPr>
        <p:blipFill>
          <a:blip r:embed="rId4"/>
          <a:stretch>
            <a:fillRect/>
          </a:stretch>
        </p:blipFill>
        <p:spPr>
          <a:xfrm>
            <a:off x="9617529" y="4814460"/>
            <a:ext cx="2404502" cy="769441"/>
          </a:xfrm>
          <a:prstGeom prst="rect">
            <a:avLst/>
          </a:prstGeom>
          <a:solidFill>
            <a:schemeClr val="bg1"/>
          </a:solidFill>
        </p:spPr>
      </p:pic>
      <p:sp>
        <p:nvSpPr>
          <p:cNvPr id="5" name="Metin kutusu 4">
            <a:extLst>
              <a:ext uri="{FF2B5EF4-FFF2-40B4-BE49-F238E27FC236}">
                <a16:creationId xmlns:a16="http://schemas.microsoft.com/office/drawing/2014/main" id="{41515B39-EB37-C8C0-A77B-A2C856D3C7CD}"/>
              </a:ext>
            </a:extLst>
          </p:cNvPr>
          <p:cNvSpPr txBox="1"/>
          <p:nvPr/>
        </p:nvSpPr>
        <p:spPr>
          <a:xfrm>
            <a:off x="9617529" y="5608864"/>
            <a:ext cx="2404502" cy="1046440"/>
          </a:xfrm>
          <a:prstGeom prst="rect">
            <a:avLst/>
          </a:prstGeom>
          <a:noFill/>
        </p:spPr>
        <p:txBody>
          <a:bodyPr wrap="square" rtlCol="0">
            <a:spAutoFit/>
          </a:bodyPr>
          <a:lstStyle/>
          <a:p>
            <a:pPr algn="ctr"/>
            <a:r>
              <a:rPr lang="tr-TR" dirty="0"/>
              <a:t> </a:t>
            </a:r>
            <a:r>
              <a:rPr lang="tr-TR" sz="4400" b="1" dirty="0">
                <a:solidFill>
                  <a:schemeClr val="bg1"/>
                </a:solidFill>
              </a:rPr>
              <a:t>STANT:11</a:t>
            </a:r>
          </a:p>
        </p:txBody>
      </p:sp>
    </p:spTree>
    <p:extLst>
      <p:ext uri="{BB962C8B-B14F-4D97-AF65-F5344CB8AC3E}">
        <p14:creationId xmlns:p14="http://schemas.microsoft.com/office/powerpoint/2010/main" val="2787271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etin kutusu 8">
            <a:extLst>
              <a:ext uri="{FF2B5EF4-FFF2-40B4-BE49-F238E27FC236}">
                <a16:creationId xmlns:a16="http://schemas.microsoft.com/office/drawing/2014/main" id="{E985CC9D-3CE7-D74C-8CAD-6DA8E39D2524}"/>
              </a:ext>
            </a:extLst>
          </p:cNvPr>
          <p:cNvSpPr txBox="1"/>
          <p:nvPr/>
        </p:nvSpPr>
        <p:spPr>
          <a:xfrm>
            <a:off x="816380" y="1125186"/>
            <a:ext cx="3177210" cy="2095958"/>
          </a:xfrm>
          <a:prstGeom prst="rect">
            <a:avLst/>
          </a:prstGeom>
          <a:noFill/>
        </p:spPr>
        <p:txBody>
          <a:bodyPr wrap="square" rtlCol="0">
            <a:spAutoFit/>
          </a:bodyPr>
          <a:lstStyle/>
          <a:p>
            <a:pPr defTabSz="914400">
              <a:lnSpc>
                <a:spcPct val="90000"/>
              </a:lnSpc>
              <a:spcAft>
                <a:spcPts val="600"/>
              </a:spcAft>
            </a:pPr>
            <a:r>
              <a:rPr lang="en-US" sz="4000" b="1" dirty="0">
                <a:solidFill>
                  <a:srgbClr val="C00000"/>
                </a:solidFill>
              </a:rPr>
              <a:t>Servet ŞAVRAN</a:t>
            </a:r>
            <a:endParaRPr lang="tr-TR" sz="4000" b="1" dirty="0">
              <a:solidFill>
                <a:srgbClr val="C00000"/>
              </a:solidFill>
            </a:endParaRPr>
          </a:p>
          <a:p>
            <a:pPr defTabSz="914400">
              <a:lnSpc>
                <a:spcPct val="90000"/>
              </a:lnSpc>
              <a:spcAft>
                <a:spcPts val="600"/>
              </a:spcAft>
            </a:pPr>
            <a:r>
              <a:rPr lang="tr-TR" sz="1600" b="1" dirty="0"/>
              <a:t>Vibmer Mühendislik Genel Müdürü</a:t>
            </a:r>
            <a:endParaRPr lang="en-US" sz="1600" b="1" dirty="0"/>
          </a:p>
          <a:p>
            <a:pPr defTabSz="914400">
              <a:lnSpc>
                <a:spcPct val="90000"/>
              </a:lnSpc>
              <a:spcAft>
                <a:spcPts val="600"/>
              </a:spcAft>
            </a:pPr>
            <a:r>
              <a:rPr lang="en-US" sz="1600" b="1" dirty="0">
                <a:solidFill>
                  <a:srgbClr val="C00000"/>
                </a:solidFill>
              </a:rPr>
              <a:t>0 533 644 84 88</a:t>
            </a:r>
          </a:p>
          <a:p>
            <a:pPr defTabSz="914400">
              <a:lnSpc>
                <a:spcPct val="90000"/>
              </a:lnSpc>
              <a:spcAft>
                <a:spcPts val="600"/>
              </a:spcAft>
            </a:pPr>
            <a:r>
              <a:rPr lang="tr-TR" sz="1600" b="1" u="sng" dirty="0">
                <a:solidFill>
                  <a:srgbClr val="C00000"/>
                </a:solidFill>
              </a:rPr>
              <a:t>servet.savran@vibmer.com.tr</a:t>
            </a:r>
            <a:endParaRPr lang="en-US" sz="1600" b="1" u="sng" dirty="0">
              <a:solidFill>
                <a:srgbClr val="C00000"/>
              </a:solidFill>
            </a:endParaRPr>
          </a:p>
        </p:txBody>
      </p:sp>
      <p:pic>
        <p:nvPicPr>
          <p:cNvPr id="15" name="Resim 14" descr="metin, logo içeren bir resim&#10;&#10;Açıklama otomatik olarak oluşturuldu">
            <a:extLst>
              <a:ext uri="{FF2B5EF4-FFF2-40B4-BE49-F238E27FC236}">
                <a16:creationId xmlns:a16="http://schemas.microsoft.com/office/drawing/2014/main" id="{212FC812-9702-1D50-B489-C583BA4BB85B}"/>
              </a:ext>
            </a:extLst>
          </p:cNvPr>
          <p:cNvPicPr>
            <a:picLocks noChangeAspect="1"/>
          </p:cNvPicPr>
          <p:nvPr/>
        </p:nvPicPr>
        <p:blipFill>
          <a:blip r:embed="rId2"/>
          <a:stretch>
            <a:fillRect/>
          </a:stretch>
        </p:blipFill>
        <p:spPr>
          <a:xfrm>
            <a:off x="8337089" y="1191671"/>
            <a:ext cx="2880360" cy="669683"/>
          </a:xfrm>
          <a:prstGeom prst="rect">
            <a:avLst/>
          </a:prstGeom>
        </p:spPr>
      </p:pic>
      <p:sp>
        <p:nvSpPr>
          <p:cNvPr id="17" name="Metin kutusu 16">
            <a:extLst>
              <a:ext uri="{FF2B5EF4-FFF2-40B4-BE49-F238E27FC236}">
                <a16:creationId xmlns:a16="http://schemas.microsoft.com/office/drawing/2014/main" id="{E2A9121F-841F-A836-02B1-739A7D237B9A}"/>
              </a:ext>
            </a:extLst>
          </p:cNvPr>
          <p:cNvSpPr txBox="1"/>
          <p:nvPr/>
        </p:nvSpPr>
        <p:spPr>
          <a:xfrm>
            <a:off x="8022847" y="2409559"/>
            <a:ext cx="3522547" cy="2031325"/>
          </a:xfrm>
          <a:prstGeom prst="rect">
            <a:avLst/>
          </a:prstGeom>
          <a:noFill/>
        </p:spPr>
        <p:txBody>
          <a:bodyPr wrap="square">
            <a:spAutoFit/>
          </a:bodyPr>
          <a:lstStyle/>
          <a:p>
            <a:pPr marL="285750" indent="-285750">
              <a:buFont typeface="Wingdings" panose="05000000000000000000" pitchFamily="2" charset="2"/>
              <a:buChar char="v"/>
            </a:pPr>
            <a:r>
              <a:rPr lang="tr-TR" b="1" dirty="0">
                <a:solidFill>
                  <a:srgbClr val="C00000"/>
                </a:solidFill>
              </a:rPr>
              <a:t>Vibmer Mühendislik </a:t>
            </a:r>
            <a:r>
              <a:rPr lang="tr-TR" dirty="0"/>
              <a:t>olarak; </a:t>
            </a:r>
            <a:r>
              <a:rPr lang="en-US" dirty="0"/>
              <a:t>20</a:t>
            </a:r>
            <a:r>
              <a:rPr lang="tr-TR" dirty="0"/>
              <a:t>21</a:t>
            </a:r>
            <a:r>
              <a:rPr lang="en-US" dirty="0"/>
              <a:t> </a:t>
            </a:r>
            <a:r>
              <a:rPr lang="en-US" dirty="0" err="1"/>
              <a:t>yılında</a:t>
            </a:r>
            <a:r>
              <a:rPr lang="tr-TR" dirty="0"/>
              <a:t>n beri</a:t>
            </a:r>
            <a:r>
              <a:rPr lang="en-US" dirty="0"/>
              <a:t> </a:t>
            </a:r>
            <a:r>
              <a:rPr lang="tr-TR" b="1" dirty="0">
                <a:solidFill>
                  <a:srgbClr val="00B050"/>
                </a:solidFill>
              </a:rPr>
              <a:t>SCHAEFFLER</a:t>
            </a:r>
            <a:r>
              <a:rPr lang="tr-TR" b="1" dirty="0">
                <a:solidFill>
                  <a:srgbClr val="C00000"/>
                </a:solidFill>
              </a:rPr>
              <a:t> </a:t>
            </a:r>
            <a:r>
              <a:rPr lang="tr-TR" dirty="0"/>
              <a:t>firmasının </a:t>
            </a:r>
            <a:r>
              <a:rPr lang="tr-TR" b="1" dirty="0">
                <a:solidFill>
                  <a:srgbClr val="0070C0"/>
                </a:solidFill>
              </a:rPr>
              <a:t>Makina Sağlığı Durum İzleme Sistemlerinin </a:t>
            </a:r>
            <a:r>
              <a:rPr lang="en-US" dirty="0" err="1"/>
              <a:t>satışı</a:t>
            </a:r>
            <a:r>
              <a:rPr lang="en-US" dirty="0"/>
              <a:t>, </a:t>
            </a:r>
            <a:r>
              <a:rPr lang="en-US" dirty="0" err="1"/>
              <a:t>kurulumu</a:t>
            </a:r>
            <a:r>
              <a:rPr lang="en-US" dirty="0"/>
              <a:t> </a:t>
            </a:r>
            <a:r>
              <a:rPr lang="en-US" dirty="0" err="1"/>
              <a:t>ve</a:t>
            </a:r>
            <a:r>
              <a:rPr lang="en-US" dirty="0"/>
              <a:t> </a:t>
            </a:r>
            <a:r>
              <a:rPr lang="en-US" dirty="0" err="1"/>
              <a:t>devreye</a:t>
            </a:r>
            <a:r>
              <a:rPr lang="en-US" dirty="0"/>
              <a:t> </a:t>
            </a:r>
            <a:r>
              <a:rPr lang="en-US" dirty="0" err="1"/>
              <a:t>alınması</a:t>
            </a:r>
            <a:r>
              <a:rPr lang="en-US" dirty="0"/>
              <a:t> </a:t>
            </a:r>
            <a:r>
              <a:rPr lang="en-US" dirty="0" err="1"/>
              <a:t>için</a:t>
            </a:r>
            <a:r>
              <a:rPr lang="en-US" dirty="0"/>
              <a:t> </a:t>
            </a:r>
            <a:r>
              <a:rPr lang="tr-TR" dirty="0"/>
              <a:t>resmi distribütörlüğünü yapmaktayız.</a:t>
            </a:r>
          </a:p>
        </p:txBody>
      </p:sp>
      <p:sp>
        <p:nvSpPr>
          <p:cNvPr id="19" name="Metin kutusu 18">
            <a:extLst>
              <a:ext uri="{FF2B5EF4-FFF2-40B4-BE49-F238E27FC236}">
                <a16:creationId xmlns:a16="http://schemas.microsoft.com/office/drawing/2014/main" id="{014D413F-B464-D5BC-7FA6-8E4771522B1F}"/>
              </a:ext>
            </a:extLst>
          </p:cNvPr>
          <p:cNvSpPr txBox="1"/>
          <p:nvPr/>
        </p:nvSpPr>
        <p:spPr>
          <a:xfrm>
            <a:off x="4321536" y="2504820"/>
            <a:ext cx="3516397" cy="2343206"/>
          </a:xfrm>
          <a:prstGeom prst="rect">
            <a:avLst/>
          </a:prstGeom>
          <a:noFill/>
        </p:spPr>
        <p:txBody>
          <a:bodyPr wrap="square" rtlCol="0">
            <a:spAutoFit/>
          </a:bodyPr>
          <a:lstStyle/>
          <a:p>
            <a:pPr marL="285750" indent="-285750">
              <a:lnSpc>
                <a:spcPct val="90000"/>
              </a:lnSpc>
              <a:spcBef>
                <a:spcPts val="1000"/>
              </a:spcBef>
              <a:buFont typeface="Wingdings" panose="05000000000000000000" pitchFamily="2" charset="2"/>
              <a:buChar char="v"/>
            </a:pPr>
            <a:r>
              <a:rPr lang="tr-TR" dirty="0">
                <a:solidFill>
                  <a:srgbClr val="002060"/>
                </a:solidFill>
              </a:rPr>
              <a:t>Ana faaliyet alanımız kısaca </a:t>
            </a:r>
            <a:r>
              <a:rPr lang="tr-TR" b="1" dirty="0">
                <a:solidFill>
                  <a:srgbClr val="C00000"/>
                </a:solidFill>
              </a:rPr>
              <a:t>“Bakım 4.0 Teknolojileri” </a:t>
            </a:r>
            <a:r>
              <a:rPr lang="tr-TR" dirty="0">
                <a:solidFill>
                  <a:srgbClr val="002060"/>
                </a:solidFill>
              </a:rPr>
              <a:t>olarak tanımlanabilir.</a:t>
            </a:r>
            <a:r>
              <a:rPr lang="tr-TR" dirty="0">
                <a:solidFill>
                  <a:srgbClr val="777777"/>
                </a:solidFill>
              </a:rPr>
              <a:t> </a:t>
            </a:r>
          </a:p>
          <a:p>
            <a:pPr>
              <a:lnSpc>
                <a:spcPct val="90000"/>
              </a:lnSpc>
              <a:spcBef>
                <a:spcPts val="1000"/>
              </a:spcBef>
            </a:pPr>
            <a:endParaRPr lang="tr-TR" dirty="0">
              <a:solidFill>
                <a:srgbClr val="777777"/>
              </a:solidFill>
            </a:endParaRPr>
          </a:p>
          <a:p>
            <a:pPr marL="285750" indent="-285750">
              <a:lnSpc>
                <a:spcPct val="90000"/>
              </a:lnSpc>
              <a:spcBef>
                <a:spcPts val="1000"/>
              </a:spcBef>
              <a:buFont typeface="Wingdings" panose="05000000000000000000" pitchFamily="2" charset="2"/>
              <a:buChar char="v"/>
            </a:pPr>
            <a:r>
              <a:rPr lang="tr-TR" dirty="0"/>
              <a:t>Amacımız; </a:t>
            </a:r>
            <a:r>
              <a:rPr lang="tr-TR" b="1" dirty="0">
                <a:solidFill>
                  <a:srgbClr val="C00000"/>
                </a:solidFill>
              </a:rPr>
              <a:t>Bakım 4.0 </a:t>
            </a:r>
            <a:r>
              <a:rPr lang="tr-TR" dirty="0"/>
              <a:t>kapsamında üretim ve bakım vizyonuna sahip işletmelerde, dijital fabrikaları inşa etmektir.</a:t>
            </a:r>
          </a:p>
        </p:txBody>
      </p:sp>
      <p:pic>
        <p:nvPicPr>
          <p:cNvPr id="20" name="Resim 19" descr="logo içeren bir resim&#10;&#10;Açıklama otomatik olarak oluşturuldu">
            <a:extLst>
              <a:ext uri="{FF2B5EF4-FFF2-40B4-BE49-F238E27FC236}">
                <a16:creationId xmlns:a16="http://schemas.microsoft.com/office/drawing/2014/main" id="{972FF200-B8F6-98C6-12C9-A3BF141A5255}"/>
              </a:ext>
            </a:extLst>
          </p:cNvPr>
          <p:cNvPicPr>
            <a:picLocks noChangeAspect="1"/>
          </p:cNvPicPr>
          <p:nvPr/>
        </p:nvPicPr>
        <p:blipFill>
          <a:blip r:embed="rId3"/>
          <a:stretch>
            <a:fillRect/>
          </a:stretch>
        </p:blipFill>
        <p:spPr>
          <a:xfrm>
            <a:off x="4635168" y="1191671"/>
            <a:ext cx="2879083" cy="669683"/>
          </a:xfrm>
          <a:prstGeom prst="rect">
            <a:avLst/>
          </a:prstGeom>
          <a:solidFill>
            <a:schemeClr val="bg1"/>
          </a:solidFill>
        </p:spPr>
      </p:pic>
      <p:pic>
        <p:nvPicPr>
          <p:cNvPr id="21" name="Resim 20">
            <a:extLst>
              <a:ext uri="{FF2B5EF4-FFF2-40B4-BE49-F238E27FC236}">
                <a16:creationId xmlns:a16="http://schemas.microsoft.com/office/drawing/2014/main" id="{CDD4FD91-FF0E-873E-16C4-F5EF010637D6}"/>
              </a:ext>
            </a:extLst>
          </p:cNvPr>
          <p:cNvPicPr>
            <a:picLocks noChangeAspect="1"/>
          </p:cNvPicPr>
          <p:nvPr/>
        </p:nvPicPr>
        <p:blipFill>
          <a:blip r:embed="rId4"/>
          <a:stretch>
            <a:fillRect/>
          </a:stretch>
        </p:blipFill>
        <p:spPr>
          <a:xfrm>
            <a:off x="1396792" y="3821686"/>
            <a:ext cx="2012092" cy="1911128"/>
          </a:xfrm>
          <a:prstGeom prst="rect">
            <a:avLst/>
          </a:prstGeom>
        </p:spPr>
      </p:pic>
    </p:spTree>
    <p:extLst>
      <p:ext uri="{BB962C8B-B14F-4D97-AF65-F5344CB8AC3E}">
        <p14:creationId xmlns:p14="http://schemas.microsoft.com/office/powerpoint/2010/main" val="3943755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Mutlu İnsanların Özellikler">
            <a:extLst>
              <a:ext uri="{FF2B5EF4-FFF2-40B4-BE49-F238E27FC236}">
                <a16:creationId xmlns:a16="http://schemas.microsoft.com/office/drawing/2014/main" id="{7F20D523-0FAD-98E7-A117-E9630F41BD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977" y="4516186"/>
            <a:ext cx="4982797" cy="2052544"/>
          </a:xfrm>
          <a:prstGeom prst="rect">
            <a:avLst/>
          </a:prstGeom>
          <a:noFill/>
          <a:extLst>
            <a:ext uri="{909E8E84-426E-40DD-AFC4-6F175D3DCCD1}">
              <a14:hiddenFill xmlns:a14="http://schemas.microsoft.com/office/drawing/2010/main">
                <a:solidFill>
                  <a:srgbClr val="FFFFFF"/>
                </a:solidFill>
              </a14:hiddenFill>
            </a:ext>
          </a:extLst>
        </p:spPr>
      </p:pic>
      <p:pic>
        <p:nvPicPr>
          <p:cNvPr id="5" name="Resim 4">
            <a:extLst>
              <a:ext uri="{FF2B5EF4-FFF2-40B4-BE49-F238E27FC236}">
                <a16:creationId xmlns:a16="http://schemas.microsoft.com/office/drawing/2014/main" id="{E8CFC122-4EA8-8704-A7F7-357F920A4E55}"/>
              </a:ext>
            </a:extLst>
          </p:cNvPr>
          <p:cNvPicPr>
            <a:picLocks noChangeAspect="1"/>
          </p:cNvPicPr>
          <p:nvPr/>
        </p:nvPicPr>
        <p:blipFill>
          <a:blip r:embed="rId3"/>
          <a:stretch>
            <a:fillRect/>
          </a:stretch>
        </p:blipFill>
        <p:spPr>
          <a:xfrm>
            <a:off x="5696074" y="4548269"/>
            <a:ext cx="6119208" cy="2084628"/>
          </a:xfrm>
          <a:prstGeom prst="rect">
            <a:avLst/>
          </a:prstGeom>
        </p:spPr>
      </p:pic>
      <p:graphicFrame>
        <p:nvGraphicFramePr>
          <p:cNvPr id="4100" name="Title 2">
            <a:extLst>
              <a:ext uri="{FF2B5EF4-FFF2-40B4-BE49-F238E27FC236}">
                <a16:creationId xmlns:a16="http://schemas.microsoft.com/office/drawing/2014/main" id="{6DC9E51A-11CE-1F2F-65CF-15ECCF2751DC}"/>
              </a:ext>
            </a:extLst>
          </p:cNvPr>
          <p:cNvGraphicFramePr/>
          <p:nvPr/>
        </p:nvGraphicFramePr>
        <p:xfrm>
          <a:off x="402404" y="270244"/>
          <a:ext cx="11412877" cy="40705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16795358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A26C624C-963C-4795-B05B-6565DB5AB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2" descr="Çarpıntı ve ritim bozuklukları neden olur? Ritim bozukluğu nasıl tedavi  edilir? - Sağlık Haberleri">
            <a:extLst>
              <a:ext uri="{FF2B5EF4-FFF2-40B4-BE49-F238E27FC236}">
                <a16:creationId xmlns:a16="http://schemas.microsoft.com/office/drawing/2014/main" id="{D80D0368-DBFD-7402-30F9-4DCED8EAFB5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200" r="40829"/>
          <a:stretch/>
        </p:blipFill>
        <p:spPr bwMode="auto">
          <a:xfrm>
            <a:off x="20" y="10"/>
            <a:ext cx="3728839" cy="4197358"/>
          </a:xfrm>
          <a:prstGeom prst="rect">
            <a:avLst/>
          </a:prstGeom>
          <a:noFill/>
          <a:extLst>
            <a:ext uri="{909E8E84-426E-40DD-AFC4-6F175D3DCCD1}">
              <a14:hiddenFill xmlns:a14="http://schemas.microsoft.com/office/drawing/2010/main">
                <a:solidFill>
                  <a:srgbClr val="FFFFFF"/>
                </a:solidFill>
              </a14:hiddenFill>
            </a:ext>
          </a:extLst>
        </p:spPr>
      </p:pic>
      <p:pic>
        <p:nvPicPr>
          <p:cNvPr id="10" name="Resim 9" descr="metin, kişi, şahıs, adam, insan içeren bir resim&#10;&#10;Açıklama otomatik olarak oluşturuldu">
            <a:extLst>
              <a:ext uri="{FF2B5EF4-FFF2-40B4-BE49-F238E27FC236}">
                <a16:creationId xmlns:a16="http://schemas.microsoft.com/office/drawing/2014/main" id="{D2FA4B6F-3707-02B7-C3CB-0F85C3BBD67C}"/>
              </a:ext>
            </a:extLst>
          </p:cNvPr>
          <p:cNvPicPr>
            <a:picLocks noChangeAspect="1"/>
          </p:cNvPicPr>
          <p:nvPr/>
        </p:nvPicPr>
        <p:blipFill rotWithShape="1">
          <a:blip r:embed="rId3"/>
          <a:srcRect l="14129" r="22409" b="2"/>
          <a:stretch/>
        </p:blipFill>
        <p:spPr>
          <a:xfrm>
            <a:off x="3847755" y="5"/>
            <a:ext cx="3686887" cy="4197368"/>
          </a:xfrm>
          <a:custGeom>
            <a:avLst/>
            <a:gdLst/>
            <a:ahLst/>
            <a:cxnLst/>
            <a:rect l="l" t="t" r="r" b="b"/>
            <a:pathLst>
              <a:path w="3686887" h="4197368">
                <a:moveTo>
                  <a:pt x="0" y="0"/>
                </a:moveTo>
                <a:lnTo>
                  <a:pt x="3686887" y="0"/>
                </a:lnTo>
                <a:lnTo>
                  <a:pt x="3686887" y="3832811"/>
                </a:lnTo>
                <a:lnTo>
                  <a:pt x="3497100" y="3826712"/>
                </a:lnTo>
                <a:cubicBezTo>
                  <a:pt x="3497100" y="3826712"/>
                  <a:pt x="3493758" y="3826712"/>
                  <a:pt x="3493758" y="3826712"/>
                </a:cubicBezTo>
                <a:cubicBezTo>
                  <a:pt x="3426914" y="3823370"/>
                  <a:pt x="3363416" y="3823370"/>
                  <a:pt x="3296571" y="3820027"/>
                </a:cubicBezTo>
                <a:cubicBezTo>
                  <a:pt x="3065966" y="3820027"/>
                  <a:pt x="2835360" y="3820027"/>
                  <a:pt x="2608095" y="3820027"/>
                </a:cubicBezTo>
                <a:cubicBezTo>
                  <a:pt x="2384173" y="3910265"/>
                  <a:pt x="2140198" y="3833396"/>
                  <a:pt x="1919619" y="3903581"/>
                </a:cubicBezTo>
                <a:cubicBezTo>
                  <a:pt x="1685670" y="3900239"/>
                  <a:pt x="1465092" y="3970423"/>
                  <a:pt x="1234485" y="4000503"/>
                </a:cubicBezTo>
                <a:cubicBezTo>
                  <a:pt x="1060693" y="4013871"/>
                  <a:pt x="883561" y="3997160"/>
                  <a:pt x="723139" y="4067345"/>
                </a:cubicBezTo>
                <a:cubicBezTo>
                  <a:pt x="661310" y="4095753"/>
                  <a:pt x="606165" y="4128339"/>
                  <a:pt x="583188" y="4172622"/>
                </a:cubicBezTo>
                <a:lnTo>
                  <a:pt x="575662" y="4197368"/>
                </a:lnTo>
                <a:lnTo>
                  <a:pt x="0" y="4197368"/>
                </a:lnTo>
                <a:close/>
              </a:path>
            </a:pathLst>
          </a:custGeom>
        </p:spPr>
      </p:pic>
      <p:pic>
        <p:nvPicPr>
          <p:cNvPr id="13" name="Resim 12" descr="zemin, kişi, şahıs, iç mekan, mavi içeren bir resim&#10;&#10;Açıklama otomatik olarak oluşturuldu">
            <a:extLst>
              <a:ext uri="{FF2B5EF4-FFF2-40B4-BE49-F238E27FC236}">
                <a16:creationId xmlns:a16="http://schemas.microsoft.com/office/drawing/2014/main" id="{D7C95513-C669-7BEB-0D4D-5699D1F8659C}"/>
              </a:ext>
            </a:extLst>
          </p:cNvPr>
          <p:cNvPicPr>
            <a:picLocks noChangeAspect="1"/>
          </p:cNvPicPr>
          <p:nvPr/>
        </p:nvPicPr>
        <p:blipFill rotWithShape="1">
          <a:blip r:embed="rId4"/>
          <a:srcRect l="15137" r="6732" b="3"/>
          <a:stretch/>
        </p:blipFill>
        <p:spPr>
          <a:xfrm>
            <a:off x="7653541" y="1"/>
            <a:ext cx="4538463" cy="3877247"/>
          </a:xfrm>
          <a:custGeom>
            <a:avLst/>
            <a:gdLst/>
            <a:ahLst/>
            <a:cxnLst/>
            <a:rect l="l" t="t" r="r" b="b"/>
            <a:pathLst>
              <a:path w="4538463" h="3877247">
                <a:moveTo>
                  <a:pt x="0" y="0"/>
                </a:moveTo>
                <a:lnTo>
                  <a:pt x="4538463" y="0"/>
                </a:lnTo>
                <a:lnTo>
                  <a:pt x="4538463" y="3437173"/>
                </a:lnTo>
                <a:lnTo>
                  <a:pt x="4530710" y="3429000"/>
                </a:lnTo>
                <a:cubicBezTo>
                  <a:pt x="4370289" y="3495842"/>
                  <a:pt x="4239946" y="3686344"/>
                  <a:pt x="4056129" y="3636211"/>
                </a:cubicBezTo>
                <a:cubicBezTo>
                  <a:pt x="3872313" y="3589422"/>
                  <a:pt x="3788760" y="3830055"/>
                  <a:pt x="3618310" y="3756528"/>
                </a:cubicBezTo>
                <a:cubicBezTo>
                  <a:pt x="3394389" y="3823371"/>
                  <a:pt x="3163783" y="3823371"/>
                  <a:pt x="2933176" y="3810002"/>
                </a:cubicBezTo>
                <a:cubicBezTo>
                  <a:pt x="2702570" y="3840081"/>
                  <a:pt x="2471962" y="3873503"/>
                  <a:pt x="2238015" y="3850107"/>
                </a:cubicBezTo>
                <a:cubicBezTo>
                  <a:pt x="2007408" y="3870161"/>
                  <a:pt x="1783486" y="3883529"/>
                  <a:pt x="1552880" y="3863476"/>
                </a:cubicBezTo>
                <a:cubicBezTo>
                  <a:pt x="1322274" y="3886870"/>
                  <a:pt x="1091667" y="3876844"/>
                  <a:pt x="864402" y="3860134"/>
                </a:cubicBezTo>
                <a:cubicBezTo>
                  <a:pt x="757455" y="3860134"/>
                  <a:pt x="653849" y="3856792"/>
                  <a:pt x="546902" y="3856792"/>
                </a:cubicBezTo>
                <a:cubicBezTo>
                  <a:pt x="404861" y="3850108"/>
                  <a:pt x="262821" y="3845095"/>
                  <a:pt x="120363" y="3840499"/>
                </a:cubicBezTo>
                <a:lnTo>
                  <a:pt x="0" y="3836632"/>
                </a:lnTo>
                <a:close/>
              </a:path>
            </a:pathLst>
          </a:custGeom>
        </p:spPr>
      </p:pic>
      <p:pic>
        <p:nvPicPr>
          <p:cNvPr id="12" name="Resim 11" descr="kişi, şahıs içeren bir resim&#10;&#10;Açıklama otomatik olarak oluşturuldu">
            <a:extLst>
              <a:ext uri="{FF2B5EF4-FFF2-40B4-BE49-F238E27FC236}">
                <a16:creationId xmlns:a16="http://schemas.microsoft.com/office/drawing/2014/main" id="{74E880B2-D2A4-E6BE-227E-14857D9D0C90}"/>
              </a:ext>
            </a:extLst>
          </p:cNvPr>
          <p:cNvPicPr>
            <a:picLocks noChangeAspect="1"/>
          </p:cNvPicPr>
          <p:nvPr/>
        </p:nvPicPr>
        <p:blipFill rotWithShape="1">
          <a:blip r:embed="rId5"/>
          <a:srcRect t="10302"/>
          <a:stretch/>
        </p:blipFill>
        <p:spPr>
          <a:xfrm>
            <a:off x="20" y="4297691"/>
            <a:ext cx="6836830" cy="2560309"/>
          </a:xfrm>
          <a:custGeom>
            <a:avLst/>
            <a:gdLst/>
            <a:ahLst/>
            <a:cxnLst/>
            <a:rect l="l" t="t" r="r" b="b"/>
            <a:pathLst>
              <a:path w="6836850" h="2541737">
                <a:moveTo>
                  <a:pt x="0" y="0"/>
                </a:moveTo>
                <a:lnTo>
                  <a:pt x="4460098" y="0"/>
                </a:lnTo>
                <a:lnTo>
                  <a:pt x="4483996" y="31836"/>
                </a:lnTo>
                <a:cubicBezTo>
                  <a:pt x="4644419" y="28495"/>
                  <a:pt x="4627708" y="282495"/>
                  <a:pt x="4788129" y="245732"/>
                </a:cubicBezTo>
                <a:cubicBezTo>
                  <a:pt x="4754709" y="362707"/>
                  <a:pt x="4641076" y="302548"/>
                  <a:pt x="4600971" y="389443"/>
                </a:cubicBezTo>
                <a:cubicBezTo>
                  <a:pt x="4684524" y="462970"/>
                  <a:pt x="4844945" y="409497"/>
                  <a:pt x="4871683" y="563233"/>
                </a:cubicBezTo>
                <a:cubicBezTo>
                  <a:pt x="4838262" y="723655"/>
                  <a:pt x="4945210" y="703602"/>
                  <a:pt x="5032105" y="713629"/>
                </a:cubicBezTo>
                <a:cubicBezTo>
                  <a:pt x="5239317" y="733683"/>
                  <a:pt x="5439843" y="747050"/>
                  <a:pt x="5643713" y="780472"/>
                </a:cubicBezTo>
                <a:cubicBezTo>
                  <a:pt x="5693844" y="790498"/>
                  <a:pt x="5810819" y="767103"/>
                  <a:pt x="5800794" y="870709"/>
                </a:cubicBezTo>
                <a:cubicBezTo>
                  <a:pt x="5790767" y="954261"/>
                  <a:pt x="5700529" y="924184"/>
                  <a:pt x="5643713" y="927525"/>
                </a:cubicBezTo>
                <a:cubicBezTo>
                  <a:pt x="5329553" y="967632"/>
                  <a:pt x="5012052" y="904131"/>
                  <a:pt x="4701235" y="907472"/>
                </a:cubicBezTo>
                <a:cubicBezTo>
                  <a:pt x="4664472" y="907472"/>
                  <a:pt x="4657787" y="1017762"/>
                  <a:pt x="4577576" y="980999"/>
                </a:cubicBezTo>
                <a:cubicBezTo>
                  <a:pt x="4788129" y="1081263"/>
                  <a:pt x="5767372" y="1108001"/>
                  <a:pt x="6094900" y="1161474"/>
                </a:cubicBezTo>
                <a:cubicBezTo>
                  <a:pt x="5754004" y="1542477"/>
                  <a:pt x="5429817" y="1311870"/>
                  <a:pt x="5159105" y="1525765"/>
                </a:cubicBezTo>
                <a:cubicBezTo>
                  <a:pt x="5159105" y="1525765"/>
                  <a:pt x="5212580" y="1525765"/>
                  <a:pt x="5443187" y="1595950"/>
                </a:cubicBezTo>
                <a:cubicBezTo>
                  <a:pt x="5627002" y="1652765"/>
                  <a:pt x="5536765" y="1732976"/>
                  <a:pt x="6001321" y="1886715"/>
                </a:cubicBezTo>
                <a:cubicBezTo>
                  <a:pt x="5824188" y="1936846"/>
                  <a:pt x="5593581" y="1839925"/>
                  <a:pt x="5506685" y="2100610"/>
                </a:cubicBezTo>
                <a:cubicBezTo>
                  <a:pt x="5643713" y="2147401"/>
                  <a:pt x="5807477" y="2103953"/>
                  <a:pt x="5904398" y="2227611"/>
                </a:cubicBezTo>
                <a:cubicBezTo>
                  <a:pt x="5934478" y="2264375"/>
                  <a:pt x="5964557" y="2287770"/>
                  <a:pt x="6001321" y="2307821"/>
                </a:cubicBezTo>
                <a:cubicBezTo>
                  <a:pt x="5984612" y="2314507"/>
                  <a:pt x="5964557" y="2321190"/>
                  <a:pt x="5951188" y="2327874"/>
                </a:cubicBezTo>
                <a:cubicBezTo>
                  <a:pt x="5977925" y="2351271"/>
                  <a:pt x="6663060" y="2478270"/>
                  <a:pt x="6836850" y="2481613"/>
                </a:cubicBezTo>
                <a:cubicBezTo>
                  <a:pt x="6761652" y="2506679"/>
                  <a:pt x="6636845" y="2527828"/>
                  <a:pt x="6553814" y="2540165"/>
                </a:cubicBezTo>
                <a:lnTo>
                  <a:pt x="6542822" y="2541737"/>
                </a:lnTo>
                <a:lnTo>
                  <a:pt x="0" y="2541737"/>
                </a:lnTo>
                <a:close/>
              </a:path>
            </a:pathLst>
          </a:custGeom>
        </p:spPr>
      </p:pic>
      <p:sp>
        <p:nvSpPr>
          <p:cNvPr id="4" name="Metin kutusu 3">
            <a:extLst>
              <a:ext uri="{FF2B5EF4-FFF2-40B4-BE49-F238E27FC236}">
                <a16:creationId xmlns:a16="http://schemas.microsoft.com/office/drawing/2014/main" id="{919FA580-A169-48E1-E874-A0FECD32C8FF}"/>
              </a:ext>
            </a:extLst>
          </p:cNvPr>
          <p:cNvSpPr txBox="1"/>
          <p:nvPr/>
        </p:nvSpPr>
        <p:spPr>
          <a:xfrm>
            <a:off x="6343650" y="4181474"/>
            <a:ext cx="5505814" cy="1471335"/>
          </a:xfrm>
          <a:prstGeom prst="rect">
            <a:avLst/>
          </a:prstGeom>
        </p:spPr>
        <p:txBody>
          <a:bodyPr vert="horz" lIns="91440" tIns="45720" rIns="91440" bIns="45720" rtlCol="0" anchor="b">
            <a:normAutofit/>
          </a:bodyPr>
          <a:lstStyle/>
          <a:p>
            <a:pPr>
              <a:lnSpc>
                <a:spcPct val="90000"/>
              </a:lnSpc>
              <a:spcBef>
                <a:spcPct val="0"/>
              </a:spcBef>
              <a:spcAft>
                <a:spcPts val="500"/>
              </a:spcAft>
            </a:pPr>
            <a:r>
              <a:rPr lang="en-US" sz="4400" b="1" kern="1200">
                <a:solidFill>
                  <a:schemeClr val="tx1"/>
                </a:solidFill>
                <a:latin typeface="+mj-lt"/>
                <a:ea typeface="+mj-ea"/>
                <a:cs typeface="+mj-cs"/>
              </a:rPr>
              <a:t>Vibrasyon Ölçüm ve Analizleri</a:t>
            </a:r>
          </a:p>
        </p:txBody>
      </p:sp>
    </p:spTree>
    <p:extLst>
      <p:ext uri="{BB962C8B-B14F-4D97-AF65-F5344CB8AC3E}">
        <p14:creationId xmlns:p14="http://schemas.microsoft.com/office/powerpoint/2010/main" val="318594915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6EAFBB7C-BA65-4034-8F52-32E6C514E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1555"/>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B9D56ACA-1E9F-4685-8853-D3A4777AC0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555"/>
            <a:ext cx="12192000" cy="6858000"/>
          </a:xfrm>
          <a:custGeom>
            <a:avLst/>
            <a:gdLst>
              <a:gd name="connsiteX0" fmla="*/ 3847754 w 12192000"/>
              <a:gd name="connsiteY0" fmla="*/ 5 h 6858000"/>
              <a:gd name="connsiteX1" fmla="*/ 3847754 w 12192000"/>
              <a:gd name="connsiteY1" fmla="*/ 4197373 h 6858000"/>
              <a:gd name="connsiteX2" fmla="*/ 4423416 w 12192000"/>
              <a:gd name="connsiteY2" fmla="*/ 4197373 h 6858000"/>
              <a:gd name="connsiteX3" fmla="*/ 4430942 w 12192000"/>
              <a:gd name="connsiteY3" fmla="*/ 4172627 h 6858000"/>
              <a:gd name="connsiteX4" fmla="*/ 4570893 w 12192000"/>
              <a:gd name="connsiteY4" fmla="*/ 4067350 h 6858000"/>
              <a:gd name="connsiteX5" fmla="*/ 5082240 w 12192000"/>
              <a:gd name="connsiteY5" fmla="*/ 4000508 h 6858000"/>
              <a:gd name="connsiteX6" fmla="*/ 5767374 w 12192000"/>
              <a:gd name="connsiteY6" fmla="*/ 3903586 h 6858000"/>
              <a:gd name="connsiteX7" fmla="*/ 6455849 w 12192000"/>
              <a:gd name="connsiteY7" fmla="*/ 3820032 h 6858000"/>
              <a:gd name="connsiteX8" fmla="*/ 7144325 w 12192000"/>
              <a:gd name="connsiteY8" fmla="*/ 3820032 h 6858000"/>
              <a:gd name="connsiteX9" fmla="*/ 7341512 w 12192000"/>
              <a:gd name="connsiteY9" fmla="*/ 3826717 h 6858000"/>
              <a:gd name="connsiteX10" fmla="*/ 7344854 w 12192000"/>
              <a:gd name="connsiteY10" fmla="*/ 3826717 h 6858000"/>
              <a:gd name="connsiteX11" fmla="*/ 7534641 w 12192000"/>
              <a:gd name="connsiteY11" fmla="*/ 3832816 h 6858000"/>
              <a:gd name="connsiteX12" fmla="*/ 7534641 w 12192000"/>
              <a:gd name="connsiteY12" fmla="*/ 5 h 6858000"/>
              <a:gd name="connsiteX13" fmla="*/ 3728859 w 12192000"/>
              <a:gd name="connsiteY13" fmla="*/ 0 h 6858000"/>
              <a:gd name="connsiteX14" fmla="*/ 12192000 w 12192000"/>
              <a:gd name="connsiteY14" fmla="*/ 0 h 6858000"/>
              <a:gd name="connsiteX15" fmla="*/ 12192000 w 12192000"/>
              <a:gd name="connsiteY15" fmla="*/ 1 h 6858000"/>
              <a:gd name="connsiteX16" fmla="*/ 7653538 w 12192000"/>
              <a:gd name="connsiteY16" fmla="*/ 1 h 6858000"/>
              <a:gd name="connsiteX17" fmla="*/ 7653538 w 12192000"/>
              <a:gd name="connsiteY17" fmla="*/ 3836633 h 6858000"/>
              <a:gd name="connsiteX18" fmla="*/ 7773901 w 12192000"/>
              <a:gd name="connsiteY18" fmla="*/ 3840500 h 6858000"/>
              <a:gd name="connsiteX19" fmla="*/ 8200440 w 12192000"/>
              <a:gd name="connsiteY19" fmla="*/ 3856793 h 6858000"/>
              <a:gd name="connsiteX20" fmla="*/ 8517940 w 12192000"/>
              <a:gd name="connsiteY20" fmla="*/ 3860135 h 6858000"/>
              <a:gd name="connsiteX21" fmla="*/ 9206418 w 12192000"/>
              <a:gd name="connsiteY21" fmla="*/ 3863477 h 6858000"/>
              <a:gd name="connsiteX22" fmla="*/ 9891553 w 12192000"/>
              <a:gd name="connsiteY22" fmla="*/ 3850108 h 6858000"/>
              <a:gd name="connsiteX23" fmla="*/ 10586714 w 12192000"/>
              <a:gd name="connsiteY23" fmla="*/ 3810003 h 6858000"/>
              <a:gd name="connsiteX24" fmla="*/ 11271848 w 12192000"/>
              <a:gd name="connsiteY24" fmla="*/ 3756529 h 6858000"/>
              <a:gd name="connsiteX25" fmla="*/ 11709667 w 12192000"/>
              <a:gd name="connsiteY25" fmla="*/ 3636212 h 6858000"/>
              <a:gd name="connsiteX26" fmla="*/ 12184248 w 12192000"/>
              <a:gd name="connsiteY26" fmla="*/ 3429001 h 6858000"/>
              <a:gd name="connsiteX27" fmla="*/ 12192000 w 12192000"/>
              <a:gd name="connsiteY27" fmla="*/ 3437173 h 6858000"/>
              <a:gd name="connsiteX28" fmla="*/ 12192000 w 12192000"/>
              <a:gd name="connsiteY28" fmla="*/ 6858000 h 6858000"/>
              <a:gd name="connsiteX29" fmla="*/ 0 w 12192000"/>
              <a:gd name="connsiteY29" fmla="*/ 6858000 h 6858000"/>
              <a:gd name="connsiteX30" fmla="*/ 0 w 12192000"/>
              <a:gd name="connsiteY30" fmla="*/ 6857989 h 6858000"/>
              <a:gd name="connsiteX31" fmla="*/ 6542821 w 12192000"/>
              <a:gd name="connsiteY31" fmla="*/ 6857989 h 6858000"/>
              <a:gd name="connsiteX32" fmla="*/ 6553813 w 12192000"/>
              <a:gd name="connsiteY32" fmla="*/ 6856417 h 6858000"/>
              <a:gd name="connsiteX33" fmla="*/ 6836849 w 12192000"/>
              <a:gd name="connsiteY33" fmla="*/ 6797865 h 6858000"/>
              <a:gd name="connsiteX34" fmla="*/ 5951187 w 12192000"/>
              <a:gd name="connsiteY34" fmla="*/ 6644126 h 6858000"/>
              <a:gd name="connsiteX35" fmla="*/ 6001320 w 12192000"/>
              <a:gd name="connsiteY35" fmla="*/ 6624073 h 6858000"/>
              <a:gd name="connsiteX36" fmla="*/ 5904397 w 12192000"/>
              <a:gd name="connsiteY36" fmla="*/ 6543863 h 6858000"/>
              <a:gd name="connsiteX37" fmla="*/ 5506684 w 12192000"/>
              <a:gd name="connsiteY37" fmla="*/ 6416862 h 6858000"/>
              <a:gd name="connsiteX38" fmla="*/ 6001320 w 12192000"/>
              <a:gd name="connsiteY38" fmla="*/ 6202967 h 6858000"/>
              <a:gd name="connsiteX39" fmla="*/ 5443186 w 12192000"/>
              <a:gd name="connsiteY39" fmla="*/ 5912202 h 6858000"/>
              <a:gd name="connsiteX40" fmla="*/ 5159104 w 12192000"/>
              <a:gd name="connsiteY40" fmla="*/ 5842017 h 6858000"/>
              <a:gd name="connsiteX41" fmla="*/ 6094899 w 12192000"/>
              <a:gd name="connsiteY41" fmla="*/ 5477726 h 6858000"/>
              <a:gd name="connsiteX42" fmla="*/ 4577576 w 12192000"/>
              <a:gd name="connsiteY42" fmla="*/ 5297251 h 6858000"/>
              <a:gd name="connsiteX43" fmla="*/ 4701234 w 12192000"/>
              <a:gd name="connsiteY43" fmla="*/ 5223724 h 6858000"/>
              <a:gd name="connsiteX44" fmla="*/ 5643712 w 12192000"/>
              <a:gd name="connsiteY44" fmla="*/ 5243777 h 6858000"/>
              <a:gd name="connsiteX45" fmla="*/ 5800793 w 12192000"/>
              <a:gd name="connsiteY45" fmla="*/ 5186961 h 6858000"/>
              <a:gd name="connsiteX46" fmla="*/ 5643712 w 12192000"/>
              <a:gd name="connsiteY46" fmla="*/ 5096724 h 6858000"/>
              <a:gd name="connsiteX47" fmla="*/ 5032104 w 12192000"/>
              <a:gd name="connsiteY47" fmla="*/ 5029881 h 6858000"/>
              <a:gd name="connsiteX48" fmla="*/ 4871682 w 12192000"/>
              <a:gd name="connsiteY48" fmla="*/ 4879485 h 6858000"/>
              <a:gd name="connsiteX49" fmla="*/ 4600971 w 12192000"/>
              <a:gd name="connsiteY49" fmla="*/ 4705695 h 6858000"/>
              <a:gd name="connsiteX50" fmla="*/ 4788128 w 12192000"/>
              <a:gd name="connsiteY50" fmla="*/ 4561984 h 6858000"/>
              <a:gd name="connsiteX51" fmla="*/ 4483995 w 12192000"/>
              <a:gd name="connsiteY51" fmla="*/ 4348088 h 6858000"/>
              <a:gd name="connsiteX52" fmla="*/ 4460097 w 12192000"/>
              <a:gd name="connsiteY52" fmla="*/ 4316252 h 6858000"/>
              <a:gd name="connsiteX53" fmla="*/ 0 w 12192000"/>
              <a:gd name="connsiteY53" fmla="*/ 4316252 h 6858000"/>
              <a:gd name="connsiteX54" fmla="*/ 0 w 12192000"/>
              <a:gd name="connsiteY54" fmla="*/ 4197368 h 6858000"/>
              <a:gd name="connsiteX55" fmla="*/ 3728859 w 12192000"/>
              <a:gd name="connsiteY55" fmla="*/ 41973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2000" h="6858000">
                <a:moveTo>
                  <a:pt x="3847754" y="5"/>
                </a:moveTo>
                <a:lnTo>
                  <a:pt x="3847754" y="4197373"/>
                </a:lnTo>
                <a:lnTo>
                  <a:pt x="4423416" y="4197373"/>
                </a:lnTo>
                <a:lnTo>
                  <a:pt x="4430942" y="4172627"/>
                </a:lnTo>
                <a:cubicBezTo>
                  <a:pt x="4453920" y="4128344"/>
                  <a:pt x="4509064" y="4095758"/>
                  <a:pt x="4570893" y="4067350"/>
                </a:cubicBezTo>
                <a:cubicBezTo>
                  <a:pt x="4731315" y="3997165"/>
                  <a:pt x="4908447" y="4013876"/>
                  <a:pt x="5082240" y="4000508"/>
                </a:cubicBezTo>
                <a:cubicBezTo>
                  <a:pt x="5312846" y="3970428"/>
                  <a:pt x="5533424" y="3900244"/>
                  <a:pt x="5767374" y="3903586"/>
                </a:cubicBezTo>
                <a:cubicBezTo>
                  <a:pt x="5987953" y="3833401"/>
                  <a:pt x="6231927" y="3910270"/>
                  <a:pt x="6455849" y="3820032"/>
                </a:cubicBezTo>
                <a:cubicBezTo>
                  <a:pt x="6683114" y="3820032"/>
                  <a:pt x="6913720" y="3820032"/>
                  <a:pt x="7144325" y="3820032"/>
                </a:cubicBezTo>
                <a:cubicBezTo>
                  <a:pt x="7211170" y="3823375"/>
                  <a:pt x="7274668" y="3823375"/>
                  <a:pt x="7341512" y="3826717"/>
                </a:cubicBezTo>
                <a:cubicBezTo>
                  <a:pt x="7341512" y="3826717"/>
                  <a:pt x="7344854" y="3826717"/>
                  <a:pt x="7344854" y="3826717"/>
                </a:cubicBezTo>
                <a:lnTo>
                  <a:pt x="7534641" y="3832816"/>
                </a:lnTo>
                <a:lnTo>
                  <a:pt x="7534641" y="5"/>
                </a:lnTo>
                <a:close/>
                <a:moveTo>
                  <a:pt x="3728859" y="0"/>
                </a:moveTo>
                <a:lnTo>
                  <a:pt x="12192000" y="0"/>
                </a:lnTo>
                <a:lnTo>
                  <a:pt x="12192000" y="1"/>
                </a:lnTo>
                <a:lnTo>
                  <a:pt x="7653538" y="1"/>
                </a:lnTo>
                <a:lnTo>
                  <a:pt x="7653538" y="3836633"/>
                </a:lnTo>
                <a:lnTo>
                  <a:pt x="7773901" y="3840500"/>
                </a:lnTo>
                <a:cubicBezTo>
                  <a:pt x="7916359" y="3845096"/>
                  <a:pt x="8058399" y="3850109"/>
                  <a:pt x="8200440" y="3856793"/>
                </a:cubicBezTo>
                <a:cubicBezTo>
                  <a:pt x="8307387" y="3856793"/>
                  <a:pt x="8410993" y="3860135"/>
                  <a:pt x="8517940" y="3860135"/>
                </a:cubicBezTo>
                <a:cubicBezTo>
                  <a:pt x="8745205" y="3876845"/>
                  <a:pt x="8975812" y="3886871"/>
                  <a:pt x="9206418" y="3863477"/>
                </a:cubicBezTo>
                <a:cubicBezTo>
                  <a:pt x="9437024" y="3883530"/>
                  <a:pt x="9660946" y="3870162"/>
                  <a:pt x="9891553" y="3850108"/>
                </a:cubicBezTo>
                <a:cubicBezTo>
                  <a:pt x="10125500" y="3873504"/>
                  <a:pt x="10356108" y="3840082"/>
                  <a:pt x="10586714" y="3810003"/>
                </a:cubicBezTo>
                <a:cubicBezTo>
                  <a:pt x="10817321" y="3823372"/>
                  <a:pt x="11047927" y="3823372"/>
                  <a:pt x="11271848" y="3756529"/>
                </a:cubicBezTo>
                <a:cubicBezTo>
                  <a:pt x="11442298" y="3830056"/>
                  <a:pt x="11525851" y="3589423"/>
                  <a:pt x="11709667" y="3636212"/>
                </a:cubicBezTo>
                <a:cubicBezTo>
                  <a:pt x="11893484" y="3686345"/>
                  <a:pt x="12023827" y="3495843"/>
                  <a:pt x="12184248" y="3429001"/>
                </a:cubicBezTo>
                <a:lnTo>
                  <a:pt x="12192000" y="3437173"/>
                </a:lnTo>
                <a:lnTo>
                  <a:pt x="12192000" y="6858000"/>
                </a:lnTo>
                <a:lnTo>
                  <a:pt x="0" y="6858000"/>
                </a:lnTo>
                <a:lnTo>
                  <a:pt x="0" y="6857989"/>
                </a:lnTo>
                <a:lnTo>
                  <a:pt x="6542821" y="6857989"/>
                </a:lnTo>
                <a:lnTo>
                  <a:pt x="6553813" y="6856417"/>
                </a:lnTo>
                <a:cubicBezTo>
                  <a:pt x="6636844" y="6844080"/>
                  <a:pt x="6761651" y="6822931"/>
                  <a:pt x="6836849" y="6797865"/>
                </a:cubicBezTo>
                <a:cubicBezTo>
                  <a:pt x="6663059" y="6794522"/>
                  <a:pt x="5977924" y="6667523"/>
                  <a:pt x="5951187" y="6644126"/>
                </a:cubicBezTo>
                <a:cubicBezTo>
                  <a:pt x="5964556" y="6637442"/>
                  <a:pt x="5984611" y="6630759"/>
                  <a:pt x="6001320" y="6624073"/>
                </a:cubicBezTo>
                <a:cubicBezTo>
                  <a:pt x="5964556" y="6604022"/>
                  <a:pt x="5934477" y="6580627"/>
                  <a:pt x="5904397" y="6543863"/>
                </a:cubicBezTo>
                <a:cubicBezTo>
                  <a:pt x="5807476" y="6420205"/>
                  <a:pt x="5643712" y="6463653"/>
                  <a:pt x="5506684" y="6416862"/>
                </a:cubicBezTo>
                <a:cubicBezTo>
                  <a:pt x="5593580" y="6156177"/>
                  <a:pt x="5824187" y="6253098"/>
                  <a:pt x="6001320" y="6202967"/>
                </a:cubicBezTo>
                <a:cubicBezTo>
                  <a:pt x="5536764" y="6049228"/>
                  <a:pt x="5627001" y="5969017"/>
                  <a:pt x="5443186" y="5912202"/>
                </a:cubicBezTo>
                <a:cubicBezTo>
                  <a:pt x="5212579" y="5842017"/>
                  <a:pt x="5159104" y="5842017"/>
                  <a:pt x="5159104" y="5842017"/>
                </a:cubicBezTo>
                <a:cubicBezTo>
                  <a:pt x="5429816" y="5628122"/>
                  <a:pt x="5754003" y="5858729"/>
                  <a:pt x="6094899" y="5477726"/>
                </a:cubicBezTo>
                <a:cubicBezTo>
                  <a:pt x="5767371" y="5424253"/>
                  <a:pt x="4788128" y="5397515"/>
                  <a:pt x="4577576" y="5297251"/>
                </a:cubicBezTo>
                <a:cubicBezTo>
                  <a:pt x="4657786" y="5334014"/>
                  <a:pt x="4664471" y="5223724"/>
                  <a:pt x="4701234" y="5223724"/>
                </a:cubicBezTo>
                <a:cubicBezTo>
                  <a:pt x="5012051" y="5220383"/>
                  <a:pt x="5329552" y="5283884"/>
                  <a:pt x="5643712" y="5243777"/>
                </a:cubicBezTo>
                <a:cubicBezTo>
                  <a:pt x="5700528" y="5240436"/>
                  <a:pt x="5790766" y="5270513"/>
                  <a:pt x="5800793" y="5186961"/>
                </a:cubicBezTo>
                <a:cubicBezTo>
                  <a:pt x="5810818" y="5083355"/>
                  <a:pt x="5693843" y="5106750"/>
                  <a:pt x="5643712" y="5096724"/>
                </a:cubicBezTo>
                <a:cubicBezTo>
                  <a:pt x="5439842" y="5063302"/>
                  <a:pt x="5239316" y="5049935"/>
                  <a:pt x="5032104" y="5029881"/>
                </a:cubicBezTo>
                <a:cubicBezTo>
                  <a:pt x="4945209" y="5019854"/>
                  <a:pt x="4838261" y="5039907"/>
                  <a:pt x="4871682" y="4879485"/>
                </a:cubicBezTo>
                <a:cubicBezTo>
                  <a:pt x="4844944" y="4725749"/>
                  <a:pt x="4684523" y="4779222"/>
                  <a:pt x="4600971" y="4705695"/>
                </a:cubicBezTo>
                <a:cubicBezTo>
                  <a:pt x="4641075" y="4618800"/>
                  <a:pt x="4754708" y="4678959"/>
                  <a:pt x="4788128" y="4561984"/>
                </a:cubicBezTo>
                <a:cubicBezTo>
                  <a:pt x="4627707" y="4598747"/>
                  <a:pt x="4644418" y="4344747"/>
                  <a:pt x="4483995" y="4348088"/>
                </a:cubicBezTo>
                <a:lnTo>
                  <a:pt x="4460097" y="4316252"/>
                </a:lnTo>
                <a:lnTo>
                  <a:pt x="0" y="4316252"/>
                </a:lnTo>
                <a:lnTo>
                  <a:pt x="0" y="4197368"/>
                </a:lnTo>
                <a:lnTo>
                  <a:pt x="3728859" y="4197368"/>
                </a:lnTo>
                <a:close/>
              </a:path>
            </a:pathLst>
          </a:custGeom>
          <a:solidFill>
            <a:schemeClr val="bg2">
              <a:alpha val="50000"/>
            </a:schemeClr>
          </a:solidFill>
          <a:ln w="32707" cap="flat">
            <a:noFill/>
            <a:prstDash val="solid"/>
            <a:miter/>
          </a:ln>
        </p:spPr>
        <p:txBody>
          <a:bodyPr wrap="square" rtlCol="0" anchor="ctr">
            <a:noAutofit/>
          </a:bodyPr>
          <a:lstStyle/>
          <a:p>
            <a:endParaRPr lang="en-US">
              <a:solidFill>
                <a:schemeClr val="tx1"/>
              </a:solidFill>
            </a:endParaRPr>
          </a:p>
        </p:txBody>
      </p:sp>
      <p:sp>
        <p:nvSpPr>
          <p:cNvPr id="4" name="Metin kutusu 3">
            <a:extLst>
              <a:ext uri="{FF2B5EF4-FFF2-40B4-BE49-F238E27FC236}">
                <a16:creationId xmlns:a16="http://schemas.microsoft.com/office/drawing/2014/main" id="{919FA580-A169-48E1-E874-A0FECD32C8FF}"/>
              </a:ext>
            </a:extLst>
          </p:cNvPr>
          <p:cNvSpPr txBox="1"/>
          <p:nvPr/>
        </p:nvSpPr>
        <p:spPr>
          <a:xfrm>
            <a:off x="6343650" y="4181474"/>
            <a:ext cx="5505814" cy="1471335"/>
          </a:xfrm>
          <a:prstGeom prst="rect">
            <a:avLst/>
          </a:prstGeom>
        </p:spPr>
        <p:txBody>
          <a:bodyPr vert="horz" lIns="91440" tIns="45720" rIns="91440" bIns="45720" rtlCol="0" anchor="b">
            <a:normAutofit/>
          </a:bodyPr>
          <a:lstStyle/>
          <a:p>
            <a:pPr>
              <a:lnSpc>
                <a:spcPct val="90000"/>
              </a:lnSpc>
              <a:spcBef>
                <a:spcPct val="0"/>
              </a:spcBef>
              <a:spcAft>
                <a:spcPts val="500"/>
              </a:spcAft>
            </a:pPr>
            <a:r>
              <a:rPr lang="en-US" sz="4400" b="1">
                <a:latin typeface="+mj-lt"/>
                <a:ea typeface="+mj-ea"/>
                <a:cs typeface="+mj-cs"/>
              </a:rPr>
              <a:t>Termal Ölçümler ve Analizleri</a:t>
            </a:r>
          </a:p>
        </p:txBody>
      </p:sp>
      <p:pic>
        <p:nvPicPr>
          <p:cNvPr id="6" name="Resim 5">
            <a:extLst>
              <a:ext uri="{FF2B5EF4-FFF2-40B4-BE49-F238E27FC236}">
                <a16:creationId xmlns:a16="http://schemas.microsoft.com/office/drawing/2014/main" id="{6B65D590-C682-5D6F-5B76-5ADD3AF4EA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187" y="1112102"/>
            <a:ext cx="2793747" cy="2095310"/>
          </a:xfrm>
          <a:prstGeom prst="rect">
            <a:avLst/>
          </a:prstGeom>
        </p:spPr>
      </p:pic>
      <p:pic>
        <p:nvPicPr>
          <p:cNvPr id="9" name="Resim 8">
            <a:extLst>
              <a:ext uri="{FF2B5EF4-FFF2-40B4-BE49-F238E27FC236}">
                <a16:creationId xmlns:a16="http://schemas.microsoft.com/office/drawing/2014/main" id="{D99E454A-2253-3DDC-033D-1576229FAA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7631" y="963053"/>
            <a:ext cx="2897872" cy="2173404"/>
          </a:xfrm>
          <a:prstGeom prst="rect">
            <a:avLst/>
          </a:prstGeom>
        </p:spPr>
      </p:pic>
      <p:pic>
        <p:nvPicPr>
          <p:cNvPr id="5" name="Resim 4">
            <a:extLst>
              <a:ext uri="{FF2B5EF4-FFF2-40B4-BE49-F238E27FC236}">
                <a16:creationId xmlns:a16="http://schemas.microsoft.com/office/drawing/2014/main" id="{C058E6B9-7AB9-BA0C-314F-3E199B0DF07A}"/>
              </a:ext>
            </a:extLst>
          </p:cNvPr>
          <p:cNvPicPr>
            <a:picLocks noChangeAspect="1"/>
          </p:cNvPicPr>
          <p:nvPr/>
        </p:nvPicPr>
        <p:blipFill>
          <a:blip r:embed="rId4"/>
          <a:stretch>
            <a:fillRect/>
          </a:stretch>
        </p:blipFill>
        <p:spPr>
          <a:xfrm>
            <a:off x="8055085" y="680373"/>
            <a:ext cx="3504569" cy="2628426"/>
          </a:xfrm>
          <a:prstGeom prst="rect">
            <a:avLst/>
          </a:prstGeom>
        </p:spPr>
      </p:pic>
      <p:pic>
        <p:nvPicPr>
          <p:cNvPr id="3" name="Resim 2">
            <a:extLst>
              <a:ext uri="{FF2B5EF4-FFF2-40B4-BE49-F238E27FC236}">
                <a16:creationId xmlns:a16="http://schemas.microsoft.com/office/drawing/2014/main" id="{C39283A7-CD7D-4782-0365-23E6BAFA5EE3}"/>
              </a:ext>
            </a:extLst>
          </p:cNvPr>
          <p:cNvPicPr>
            <a:picLocks noChangeAspect="1"/>
          </p:cNvPicPr>
          <p:nvPr/>
        </p:nvPicPr>
        <p:blipFill>
          <a:blip r:embed="rId5"/>
          <a:stretch>
            <a:fillRect/>
          </a:stretch>
        </p:blipFill>
        <p:spPr>
          <a:xfrm>
            <a:off x="906181" y="4667534"/>
            <a:ext cx="2927455" cy="1639375"/>
          </a:xfrm>
          <a:prstGeom prst="rect">
            <a:avLst/>
          </a:prstGeom>
        </p:spPr>
      </p:pic>
    </p:spTree>
    <p:extLst>
      <p:ext uri="{BB962C8B-B14F-4D97-AF65-F5344CB8AC3E}">
        <p14:creationId xmlns:p14="http://schemas.microsoft.com/office/powerpoint/2010/main" val="232770650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2" name="Rectangle 15">
            <a:extLst>
              <a:ext uri="{FF2B5EF4-FFF2-40B4-BE49-F238E27FC236}">
                <a16:creationId xmlns:a16="http://schemas.microsoft.com/office/drawing/2014/main" id="{6EAFBB7C-BA65-4034-8F52-32E6C514E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1555"/>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Shape 17">
            <a:extLst>
              <a:ext uri="{FF2B5EF4-FFF2-40B4-BE49-F238E27FC236}">
                <a16:creationId xmlns:a16="http://schemas.microsoft.com/office/drawing/2014/main" id="{B9D56ACA-1E9F-4685-8853-D3A4777AC0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555"/>
            <a:ext cx="12192000" cy="6858000"/>
          </a:xfrm>
          <a:custGeom>
            <a:avLst/>
            <a:gdLst>
              <a:gd name="connsiteX0" fmla="*/ 3847754 w 12192000"/>
              <a:gd name="connsiteY0" fmla="*/ 5 h 6858000"/>
              <a:gd name="connsiteX1" fmla="*/ 3847754 w 12192000"/>
              <a:gd name="connsiteY1" fmla="*/ 4197373 h 6858000"/>
              <a:gd name="connsiteX2" fmla="*/ 4423416 w 12192000"/>
              <a:gd name="connsiteY2" fmla="*/ 4197373 h 6858000"/>
              <a:gd name="connsiteX3" fmla="*/ 4430942 w 12192000"/>
              <a:gd name="connsiteY3" fmla="*/ 4172627 h 6858000"/>
              <a:gd name="connsiteX4" fmla="*/ 4570893 w 12192000"/>
              <a:gd name="connsiteY4" fmla="*/ 4067350 h 6858000"/>
              <a:gd name="connsiteX5" fmla="*/ 5082240 w 12192000"/>
              <a:gd name="connsiteY5" fmla="*/ 4000508 h 6858000"/>
              <a:gd name="connsiteX6" fmla="*/ 5767374 w 12192000"/>
              <a:gd name="connsiteY6" fmla="*/ 3903586 h 6858000"/>
              <a:gd name="connsiteX7" fmla="*/ 6455849 w 12192000"/>
              <a:gd name="connsiteY7" fmla="*/ 3820032 h 6858000"/>
              <a:gd name="connsiteX8" fmla="*/ 7144325 w 12192000"/>
              <a:gd name="connsiteY8" fmla="*/ 3820032 h 6858000"/>
              <a:gd name="connsiteX9" fmla="*/ 7341512 w 12192000"/>
              <a:gd name="connsiteY9" fmla="*/ 3826717 h 6858000"/>
              <a:gd name="connsiteX10" fmla="*/ 7344854 w 12192000"/>
              <a:gd name="connsiteY10" fmla="*/ 3826717 h 6858000"/>
              <a:gd name="connsiteX11" fmla="*/ 7534641 w 12192000"/>
              <a:gd name="connsiteY11" fmla="*/ 3832816 h 6858000"/>
              <a:gd name="connsiteX12" fmla="*/ 7534641 w 12192000"/>
              <a:gd name="connsiteY12" fmla="*/ 5 h 6858000"/>
              <a:gd name="connsiteX13" fmla="*/ 3728859 w 12192000"/>
              <a:gd name="connsiteY13" fmla="*/ 0 h 6858000"/>
              <a:gd name="connsiteX14" fmla="*/ 12192000 w 12192000"/>
              <a:gd name="connsiteY14" fmla="*/ 0 h 6858000"/>
              <a:gd name="connsiteX15" fmla="*/ 12192000 w 12192000"/>
              <a:gd name="connsiteY15" fmla="*/ 1 h 6858000"/>
              <a:gd name="connsiteX16" fmla="*/ 7653538 w 12192000"/>
              <a:gd name="connsiteY16" fmla="*/ 1 h 6858000"/>
              <a:gd name="connsiteX17" fmla="*/ 7653538 w 12192000"/>
              <a:gd name="connsiteY17" fmla="*/ 3836633 h 6858000"/>
              <a:gd name="connsiteX18" fmla="*/ 7773901 w 12192000"/>
              <a:gd name="connsiteY18" fmla="*/ 3840500 h 6858000"/>
              <a:gd name="connsiteX19" fmla="*/ 8200440 w 12192000"/>
              <a:gd name="connsiteY19" fmla="*/ 3856793 h 6858000"/>
              <a:gd name="connsiteX20" fmla="*/ 8517940 w 12192000"/>
              <a:gd name="connsiteY20" fmla="*/ 3860135 h 6858000"/>
              <a:gd name="connsiteX21" fmla="*/ 9206418 w 12192000"/>
              <a:gd name="connsiteY21" fmla="*/ 3863477 h 6858000"/>
              <a:gd name="connsiteX22" fmla="*/ 9891553 w 12192000"/>
              <a:gd name="connsiteY22" fmla="*/ 3850108 h 6858000"/>
              <a:gd name="connsiteX23" fmla="*/ 10586714 w 12192000"/>
              <a:gd name="connsiteY23" fmla="*/ 3810003 h 6858000"/>
              <a:gd name="connsiteX24" fmla="*/ 11271848 w 12192000"/>
              <a:gd name="connsiteY24" fmla="*/ 3756529 h 6858000"/>
              <a:gd name="connsiteX25" fmla="*/ 11709667 w 12192000"/>
              <a:gd name="connsiteY25" fmla="*/ 3636212 h 6858000"/>
              <a:gd name="connsiteX26" fmla="*/ 12184248 w 12192000"/>
              <a:gd name="connsiteY26" fmla="*/ 3429001 h 6858000"/>
              <a:gd name="connsiteX27" fmla="*/ 12192000 w 12192000"/>
              <a:gd name="connsiteY27" fmla="*/ 3437173 h 6858000"/>
              <a:gd name="connsiteX28" fmla="*/ 12192000 w 12192000"/>
              <a:gd name="connsiteY28" fmla="*/ 6858000 h 6858000"/>
              <a:gd name="connsiteX29" fmla="*/ 0 w 12192000"/>
              <a:gd name="connsiteY29" fmla="*/ 6858000 h 6858000"/>
              <a:gd name="connsiteX30" fmla="*/ 0 w 12192000"/>
              <a:gd name="connsiteY30" fmla="*/ 6857989 h 6858000"/>
              <a:gd name="connsiteX31" fmla="*/ 6542821 w 12192000"/>
              <a:gd name="connsiteY31" fmla="*/ 6857989 h 6858000"/>
              <a:gd name="connsiteX32" fmla="*/ 6553813 w 12192000"/>
              <a:gd name="connsiteY32" fmla="*/ 6856417 h 6858000"/>
              <a:gd name="connsiteX33" fmla="*/ 6836849 w 12192000"/>
              <a:gd name="connsiteY33" fmla="*/ 6797865 h 6858000"/>
              <a:gd name="connsiteX34" fmla="*/ 5951187 w 12192000"/>
              <a:gd name="connsiteY34" fmla="*/ 6644126 h 6858000"/>
              <a:gd name="connsiteX35" fmla="*/ 6001320 w 12192000"/>
              <a:gd name="connsiteY35" fmla="*/ 6624073 h 6858000"/>
              <a:gd name="connsiteX36" fmla="*/ 5904397 w 12192000"/>
              <a:gd name="connsiteY36" fmla="*/ 6543863 h 6858000"/>
              <a:gd name="connsiteX37" fmla="*/ 5506684 w 12192000"/>
              <a:gd name="connsiteY37" fmla="*/ 6416862 h 6858000"/>
              <a:gd name="connsiteX38" fmla="*/ 6001320 w 12192000"/>
              <a:gd name="connsiteY38" fmla="*/ 6202967 h 6858000"/>
              <a:gd name="connsiteX39" fmla="*/ 5443186 w 12192000"/>
              <a:gd name="connsiteY39" fmla="*/ 5912202 h 6858000"/>
              <a:gd name="connsiteX40" fmla="*/ 5159104 w 12192000"/>
              <a:gd name="connsiteY40" fmla="*/ 5842017 h 6858000"/>
              <a:gd name="connsiteX41" fmla="*/ 6094899 w 12192000"/>
              <a:gd name="connsiteY41" fmla="*/ 5477726 h 6858000"/>
              <a:gd name="connsiteX42" fmla="*/ 4577576 w 12192000"/>
              <a:gd name="connsiteY42" fmla="*/ 5297251 h 6858000"/>
              <a:gd name="connsiteX43" fmla="*/ 4701234 w 12192000"/>
              <a:gd name="connsiteY43" fmla="*/ 5223724 h 6858000"/>
              <a:gd name="connsiteX44" fmla="*/ 5643712 w 12192000"/>
              <a:gd name="connsiteY44" fmla="*/ 5243777 h 6858000"/>
              <a:gd name="connsiteX45" fmla="*/ 5800793 w 12192000"/>
              <a:gd name="connsiteY45" fmla="*/ 5186961 h 6858000"/>
              <a:gd name="connsiteX46" fmla="*/ 5643712 w 12192000"/>
              <a:gd name="connsiteY46" fmla="*/ 5096724 h 6858000"/>
              <a:gd name="connsiteX47" fmla="*/ 5032104 w 12192000"/>
              <a:gd name="connsiteY47" fmla="*/ 5029881 h 6858000"/>
              <a:gd name="connsiteX48" fmla="*/ 4871682 w 12192000"/>
              <a:gd name="connsiteY48" fmla="*/ 4879485 h 6858000"/>
              <a:gd name="connsiteX49" fmla="*/ 4600971 w 12192000"/>
              <a:gd name="connsiteY49" fmla="*/ 4705695 h 6858000"/>
              <a:gd name="connsiteX50" fmla="*/ 4788128 w 12192000"/>
              <a:gd name="connsiteY50" fmla="*/ 4561984 h 6858000"/>
              <a:gd name="connsiteX51" fmla="*/ 4483995 w 12192000"/>
              <a:gd name="connsiteY51" fmla="*/ 4348088 h 6858000"/>
              <a:gd name="connsiteX52" fmla="*/ 4460097 w 12192000"/>
              <a:gd name="connsiteY52" fmla="*/ 4316252 h 6858000"/>
              <a:gd name="connsiteX53" fmla="*/ 0 w 12192000"/>
              <a:gd name="connsiteY53" fmla="*/ 4316252 h 6858000"/>
              <a:gd name="connsiteX54" fmla="*/ 0 w 12192000"/>
              <a:gd name="connsiteY54" fmla="*/ 4197368 h 6858000"/>
              <a:gd name="connsiteX55" fmla="*/ 3728859 w 12192000"/>
              <a:gd name="connsiteY55" fmla="*/ 41973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2000" h="6858000">
                <a:moveTo>
                  <a:pt x="3847754" y="5"/>
                </a:moveTo>
                <a:lnTo>
                  <a:pt x="3847754" y="4197373"/>
                </a:lnTo>
                <a:lnTo>
                  <a:pt x="4423416" y="4197373"/>
                </a:lnTo>
                <a:lnTo>
                  <a:pt x="4430942" y="4172627"/>
                </a:lnTo>
                <a:cubicBezTo>
                  <a:pt x="4453920" y="4128344"/>
                  <a:pt x="4509064" y="4095758"/>
                  <a:pt x="4570893" y="4067350"/>
                </a:cubicBezTo>
                <a:cubicBezTo>
                  <a:pt x="4731315" y="3997165"/>
                  <a:pt x="4908447" y="4013876"/>
                  <a:pt x="5082240" y="4000508"/>
                </a:cubicBezTo>
                <a:cubicBezTo>
                  <a:pt x="5312846" y="3970428"/>
                  <a:pt x="5533424" y="3900244"/>
                  <a:pt x="5767374" y="3903586"/>
                </a:cubicBezTo>
                <a:cubicBezTo>
                  <a:pt x="5987953" y="3833401"/>
                  <a:pt x="6231927" y="3910270"/>
                  <a:pt x="6455849" y="3820032"/>
                </a:cubicBezTo>
                <a:cubicBezTo>
                  <a:pt x="6683114" y="3820032"/>
                  <a:pt x="6913720" y="3820032"/>
                  <a:pt x="7144325" y="3820032"/>
                </a:cubicBezTo>
                <a:cubicBezTo>
                  <a:pt x="7211170" y="3823375"/>
                  <a:pt x="7274668" y="3823375"/>
                  <a:pt x="7341512" y="3826717"/>
                </a:cubicBezTo>
                <a:cubicBezTo>
                  <a:pt x="7341512" y="3826717"/>
                  <a:pt x="7344854" y="3826717"/>
                  <a:pt x="7344854" y="3826717"/>
                </a:cubicBezTo>
                <a:lnTo>
                  <a:pt x="7534641" y="3832816"/>
                </a:lnTo>
                <a:lnTo>
                  <a:pt x="7534641" y="5"/>
                </a:lnTo>
                <a:close/>
                <a:moveTo>
                  <a:pt x="3728859" y="0"/>
                </a:moveTo>
                <a:lnTo>
                  <a:pt x="12192000" y="0"/>
                </a:lnTo>
                <a:lnTo>
                  <a:pt x="12192000" y="1"/>
                </a:lnTo>
                <a:lnTo>
                  <a:pt x="7653538" y="1"/>
                </a:lnTo>
                <a:lnTo>
                  <a:pt x="7653538" y="3836633"/>
                </a:lnTo>
                <a:lnTo>
                  <a:pt x="7773901" y="3840500"/>
                </a:lnTo>
                <a:cubicBezTo>
                  <a:pt x="7916359" y="3845096"/>
                  <a:pt x="8058399" y="3850109"/>
                  <a:pt x="8200440" y="3856793"/>
                </a:cubicBezTo>
                <a:cubicBezTo>
                  <a:pt x="8307387" y="3856793"/>
                  <a:pt x="8410993" y="3860135"/>
                  <a:pt x="8517940" y="3860135"/>
                </a:cubicBezTo>
                <a:cubicBezTo>
                  <a:pt x="8745205" y="3876845"/>
                  <a:pt x="8975812" y="3886871"/>
                  <a:pt x="9206418" y="3863477"/>
                </a:cubicBezTo>
                <a:cubicBezTo>
                  <a:pt x="9437024" y="3883530"/>
                  <a:pt x="9660946" y="3870162"/>
                  <a:pt x="9891553" y="3850108"/>
                </a:cubicBezTo>
                <a:cubicBezTo>
                  <a:pt x="10125500" y="3873504"/>
                  <a:pt x="10356108" y="3840082"/>
                  <a:pt x="10586714" y="3810003"/>
                </a:cubicBezTo>
                <a:cubicBezTo>
                  <a:pt x="10817321" y="3823372"/>
                  <a:pt x="11047927" y="3823372"/>
                  <a:pt x="11271848" y="3756529"/>
                </a:cubicBezTo>
                <a:cubicBezTo>
                  <a:pt x="11442298" y="3830056"/>
                  <a:pt x="11525851" y="3589423"/>
                  <a:pt x="11709667" y="3636212"/>
                </a:cubicBezTo>
                <a:cubicBezTo>
                  <a:pt x="11893484" y="3686345"/>
                  <a:pt x="12023827" y="3495843"/>
                  <a:pt x="12184248" y="3429001"/>
                </a:cubicBezTo>
                <a:lnTo>
                  <a:pt x="12192000" y="3437173"/>
                </a:lnTo>
                <a:lnTo>
                  <a:pt x="12192000" y="6858000"/>
                </a:lnTo>
                <a:lnTo>
                  <a:pt x="0" y="6858000"/>
                </a:lnTo>
                <a:lnTo>
                  <a:pt x="0" y="6857989"/>
                </a:lnTo>
                <a:lnTo>
                  <a:pt x="6542821" y="6857989"/>
                </a:lnTo>
                <a:lnTo>
                  <a:pt x="6553813" y="6856417"/>
                </a:lnTo>
                <a:cubicBezTo>
                  <a:pt x="6636844" y="6844080"/>
                  <a:pt x="6761651" y="6822931"/>
                  <a:pt x="6836849" y="6797865"/>
                </a:cubicBezTo>
                <a:cubicBezTo>
                  <a:pt x="6663059" y="6794522"/>
                  <a:pt x="5977924" y="6667523"/>
                  <a:pt x="5951187" y="6644126"/>
                </a:cubicBezTo>
                <a:cubicBezTo>
                  <a:pt x="5964556" y="6637442"/>
                  <a:pt x="5984611" y="6630759"/>
                  <a:pt x="6001320" y="6624073"/>
                </a:cubicBezTo>
                <a:cubicBezTo>
                  <a:pt x="5964556" y="6604022"/>
                  <a:pt x="5934477" y="6580627"/>
                  <a:pt x="5904397" y="6543863"/>
                </a:cubicBezTo>
                <a:cubicBezTo>
                  <a:pt x="5807476" y="6420205"/>
                  <a:pt x="5643712" y="6463653"/>
                  <a:pt x="5506684" y="6416862"/>
                </a:cubicBezTo>
                <a:cubicBezTo>
                  <a:pt x="5593580" y="6156177"/>
                  <a:pt x="5824187" y="6253098"/>
                  <a:pt x="6001320" y="6202967"/>
                </a:cubicBezTo>
                <a:cubicBezTo>
                  <a:pt x="5536764" y="6049228"/>
                  <a:pt x="5627001" y="5969017"/>
                  <a:pt x="5443186" y="5912202"/>
                </a:cubicBezTo>
                <a:cubicBezTo>
                  <a:pt x="5212579" y="5842017"/>
                  <a:pt x="5159104" y="5842017"/>
                  <a:pt x="5159104" y="5842017"/>
                </a:cubicBezTo>
                <a:cubicBezTo>
                  <a:pt x="5429816" y="5628122"/>
                  <a:pt x="5754003" y="5858729"/>
                  <a:pt x="6094899" y="5477726"/>
                </a:cubicBezTo>
                <a:cubicBezTo>
                  <a:pt x="5767371" y="5424253"/>
                  <a:pt x="4788128" y="5397515"/>
                  <a:pt x="4577576" y="5297251"/>
                </a:cubicBezTo>
                <a:cubicBezTo>
                  <a:pt x="4657786" y="5334014"/>
                  <a:pt x="4664471" y="5223724"/>
                  <a:pt x="4701234" y="5223724"/>
                </a:cubicBezTo>
                <a:cubicBezTo>
                  <a:pt x="5012051" y="5220383"/>
                  <a:pt x="5329552" y="5283884"/>
                  <a:pt x="5643712" y="5243777"/>
                </a:cubicBezTo>
                <a:cubicBezTo>
                  <a:pt x="5700528" y="5240436"/>
                  <a:pt x="5790766" y="5270513"/>
                  <a:pt x="5800793" y="5186961"/>
                </a:cubicBezTo>
                <a:cubicBezTo>
                  <a:pt x="5810818" y="5083355"/>
                  <a:pt x="5693843" y="5106750"/>
                  <a:pt x="5643712" y="5096724"/>
                </a:cubicBezTo>
                <a:cubicBezTo>
                  <a:pt x="5439842" y="5063302"/>
                  <a:pt x="5239316" y="5049935"/>
                  <a:pt x="5032104" y="5029881"/>
                </a:cubicBezTo>
                <a:cubicBezTo>
                  <a:pt x="4945209" y="5019854"/>
                  <a:pt x="4838261" y="5039907"/>
                  <a:pt x="4871682" y="4879485"/>
                </a:cubicBezTo>
                <a:cubicBezTo>
                  <a:pt x="4844944" y="4725749"/>
                  <a:pt x="4684523" y="4779222"/>
                  <a:pt x="4600971" y="4705695"/>
                </a:cubicBezTo>
                <a:cubicBezTo>
                  <a:pt x="4641075" y="4618800"/>
                  <a:pt x="4754708" y="4678959"/>
                  <a:pt x="4788128" y="4561984"/>
                </a:cubicBezTo>
                <a:cubicBezTo>
                  <a:pt x="4627707" y="4598747"/>
                  <a:pt x="4644418" y="4344747"/>
                  <a:pt x="4483995" y="4348088"/>
                </a:cubicBezTo>
                <a:lnTo>
                  <a:pt x="4460097" y="4316252"/>
                </a:lnTo>
                <a:lnTo>
                  <a:pt x="0" y="4316252"/>
                </a:lnTo>
                <a:lnTo>
                  <a:pt x="0" y="4197368"/>
                </a:lnTo>
                <a:lnTo>
                  <a:pt x="3728859" y="4197368"/>
                </a:lnTo>
                <a:close/>
              </a:path>
            </a:pathLst>
          </a:custGeom>
          <a:solidFill>
            <a:schemeClr val="bg2">
              <a:alpha val="50000"/>
            </a:schemeClr>
          </a:solidFill>
          <a:ln w="32707" cap="flat">
            <a:noFill/>
            <a:prstDash val="solid"/>
            <a:miter/>
          </a:ln>
        </p:spPr>
        <p:txBody>
          <a:bodyPr wrap="square" rtlCol="0" anchor="ctr">
            <a:noAutofit/>
          </a:bodyPr>
          <a:lstStyle/>
          <a:p>
            <a:endParaRPr lang="en-US">
              <a:solidFill>
                <a:schemeClr val="tx1"/>
              </a:solidFill>
            </a:endParaRPr>
          </a:p>
        </p:txBody>
      </p:sp>
      <p:sp>
        <p:nvSpPr>
          <p:cNvPr id="4" name="Metin kutusu 3">
            <a:extLst>
              <a:ext uri="{FF2B5EF4-FFF2-40B4-BE49-F238E27FC236}">
                <a16:creationId xmlns:a16="http://schemas.microsoft.com/office/drawing/2014/main" id="{919FA580-A169-48E1-E874-A0FECD32C8FF}"/>
              </a:ext>
            </a:extLst>
          </p:cNvPr>
          <p:cNvSpPr txBox="1"/>
          <p:nvPr/>
        </p:nvSpPr>
        <p:spPr>
          <a:xfrm>
            <a:off x="6343650" y="4181474"/>
            <a:ext cx="5505814" cy="1471335"/>
          </a:xfrm>
          <a:prstGeom prst="rect">
            <a:avLst/>
          </a:prstGeom>
        </p:spPr>
        <p:txBody>
          <a:bodyPr vert="horz" lIns="91440" tIns="45720" rIns="91440" bIns="45720" rtlCol="0" anchor="b">
            <a:normAutofit/>
          </a:bodyPr>
          <a:lstStyle/>
          <a:p>
            <a:pPr>
              <a:lnSpc>
                <a:spcPct val="90000"/>
              </a:lnSpc>
              <a:spcBef>
                <a:spcPct val="0"/>
              </a:spcBef>
              <a:spcAft>
                <a:spcPts val="500"/>
              </a:spcAft>
            </a:pPr>
            <a:r>
              <a:rPr lang="en-US" sz="4100" b="1">
                <a:latin typeface="+mj-lt"/>
                <a:ea typeface="+mj-ea"/>
                <a:cs typeface="+mj-cs"/>
              </a:rPr>
              <a:t>Stetoskop yada Ultrasonik Cihazlar İle Dinleme</a:t>
            </a:r>
          </a:p>
        </p:txBody>
      </p:sp>
      <p:pic>
        <p:nvPicPr>
          <p:cNvPr id="8" name="Resim 7">
            <a:extLst>
              <a:ext uri="{FF2B5EF4-FFF2-40B4-BE49-F238E27FC236}">
                <a16:creationId xmlns:a16="http://schemas.microsoft.com/office/drawing/2014/main" id="{CA1A1223-72B6-9107-7992-D8A322967765}"/>
              </a:ext>
            </a:extLst>
          </p:cNvPr>
          <p:cNvPicPr>
            <a:picLocks noChangeAspect="1"/>
          </p:cNvPicPr>
          <p:nvPr/>
        </p:nvPicPr>
        <p:blipFill>
          <a:blip r:embed="rId2"/>
          <a:stretch>
            <a:fillRect/>
          </a:stretch>
        </p:blipFill>
        <p:spPr>
          <a:xfrm>
            <a:off x="4420506" y="719799"/>
            <a:ext cx="2793747" cy="2353732"/>
          </a:xfrm>
          <a:prstGeom prst="rect">
            <a:avLst/>
          </a:prstGeom>
        </p:spPr>
      </p:pic>
      <p:pic>
        <p:nvPicPr>
          <p:cNvPr id="2" name="Resim 1">
            <a:extLst>
              <a:ext uri="{FF2B5EF4-FFF2-40B4-BE49-F238E27FC236}">
                <a16:creationId xmlns:a16="http://schemas.microsoft.com/office/drawing/2014/main" id="{54434903-5ABF-2168-935D-2CD3ED86B7D0}"/>
              </a:ext>
            </a:extLst>
          </p:cNvPr>
          <p:cNvPicPr>
            <a:picLocks noChangeAspect="1"/>
          </p:cNvPicPr>
          <p:nvPr/>
        </p:nvPicPr>
        <p:blipFill>
          <a:blip r:embed="rId3"/>
          <a:stretch>
            <a:fillRect/>
          </a:stretch>
        </p:blipFill>
        <p:spPr>
          <a:xfrm>
            <a:off x="502187" y="719799"/>
            <a:ext cx="2897872" cy="2180648"/>
          </a:xfrm>
          <a:prstGeom prst="rect">
            <a:avLst/>
          </a:prstGeom>
        </p:spPr>
      </p:pic>
      <p:pic>
        <p:nvPicPr>
          <p:cNvPr id="7" name="Resim 6">
            <a:extLst>
              <a:ext uri="{FF2B5EF4-FFF2-40B4-BE49-F238E27FC236}">
                <a16:creationId xmlns:a16="http://schemas.microsoft.com/office/drawing/2014/main" id="{6C766A71-0C11-8A27-64BB-B3DB547E09EF}"/>
              </a:ext>
            </a:extLst>
          </p:cNvPr>
          <p:cNvPicPr>
            <a:picLocks noChangeAspect="1"/>
          </p:cNvPicPr>
          <p:nvPr/>
        </p:nvPicPr>
        <p:blipFill>
          <a:blip r:embed="rId4"/>
          <a:stretch>
            <a:fillRect/>
          </a:stretch>
        </p:blipFill>
        <p:spPr>
          <a:xfrm>
            <a:off x="8055085" y="719799"/>
            <a:ext cx="3504569" cy="2549574"/>
          </a:xfrm>
          <a:prstGeom prst="rect">
            <a:avLst/>
          </a:prstGeom>
        </p:spPr>
      </p:pic>
      <p:pic>
        <p:nvPicPr>
          <p:cNvPr id="11" name="Resim 10">
            <a:extLst>
              <a:ext uri="{FF2B5EF4-FFF2-40B4-BE49-F238E27FC236}">
                <a16:creationId xmlns:a16="http://schemas.microsoft.com/office/drawing/2014/main" id="{9786A96C-420E-EBA4-A281-46BB46B7C84B}"/>
              </a:ext>
            </a:extLst>
          </p:cNvPr>
          <p:cNvPicPr>
            <a:picLocks noChangeAspect="1"/>
          </p:cNvPicPr>
          <p:nvPr/>
        </p:nvPicPr>
        <p:blipFill rotWithShape="1">
          <a:blip r:embed="rId5"/>
          <a:srcRect l="11103"/>
          <a:stretch/>
        </p:blipFill>
        <p:spPr>
          <a:xfrm>
            <a:off x="502187" y="4759318"/>
            <a:ext cx="3735444" cy="1455807"/>
          </a:xfrm>
          <a:prstGeom prst="rect">
            <a:avLst/>
          </a:prstGeom>
        </p:spPr>
      </p:pic>
      <p:pic>
        <p:nvPicPr>
          <p:cNvPr id="3" name="Resim 2">
            <a:extLst>
              <a:ext uri="{FF2B5EF4-FFF2-40B4-BE49-F238E27FC236}">
                <a16:creationId xmlns:a16="http://schemas.microsoft.com/office/drawing/2014/main" id="{941FC86B-2E46-FD64-45EE-9FCA9C550C63}"/>
              </a:ext>
            </a:extLst>
          </p:cNvPr>
          <p:cNvPicPr>
            <a:picLocks noChangeAspect="1"/>
          </p:cNvPicPr>
          <p:nvPr/>
        </p:nvPicPr>
        <p:blipFill rotWithShape="1">
          <a:blip r:embed="rId5"/>
          <a:srcRect l="56783" t="44266" r="14408" b="33096"/>
          <a:stretch/>
        </p:blipFill>
        <p:spPr>
          <a:xfrm>
            <a:off x="2424943" y="5713768"/>
            <a:ext cx="1210491" cy="329567"/>
          </a:xfrm>
          <a:prstGeom prst="rect">
            <a:avLst/>
          </a:prstGeom>
        </p:spPr>
      </p:pic>
    </p:spTree>
    <p:extLst>
      <p:ext uri="{BB962C8B-B14F-4D97-AF65-F5344CB8AC3E}">
        <p14:creationId xmlns:p14="http://schemas.microsoft.com/office/powerpoint/2010/main" val="330330001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3">
            <a:extLst>
              <a:ext uri="{FF2B5EF4-FFF2-40B4-BE49-F238E27FC236}">
                <a16:creationId xmlns:a16="http://schemas.microsoft.com/office/drawing/2014/main" id="{A26C624C-963C-4795-B05B-6565DB5AB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Resim 8" descr="kişi, şahıs, plastik içeren bir resim&#10;&#10;Açıklama otomatik olarak oluşturuldu">
            <a:extLst>
              <a:ext uri="{FF2B5EF4-FFF2-40B4-BE49-F238E27FC236}">
                <a16:creationId xmlns:a16="http://schemas.microsoft.com/office/drawing/2014/main" id="{59A3BF7F-2C39-D232-FBCC-444D5FFF3488}"/>
              </a:ext>
            </a:extLst>
          </p:cNvPr>
          <p:cNvPicPr>
            <a:picLocks noChangeAspect="1"/>
          </p:cNvPicPr>
          <p:nvPr/>
        </p:nvPicPr>
        <p:blipFill rotWithShape="1">
          <a:blip r:embed="rId2"/>
          <a:srcRect l="30418" r="10281" b="-3"/>
          <a:stretch/>
        </p:blipFill>
        <p:spPr>
          <a:xfrm>
            <a:off x="20" y="10"/>
            <a:ext cx="3728839" cy="4197358"/>
          </a:xfrm>
          <a:prstGeom prst="rect">
            <a:avLst/>
          </a:prstGeom>
        </p:spPr>
      </p:pic>
      <p:pic>
        <p:nvPicPr>
          <p:cNvPr id="5" name="Resim 4" descr="iç mekan, vites içeren bir resim&#10;&#10;Açıklama otomatik olarak oluşturuldu">
            <a:extLst>
              <a:ext uri="{FF2B5EF4-FFF2-40B4-BE49-F238E27FC236}">
                <a16:creationId xmlns:a16="http://schemas.microsoft.com/office/drawing/2014/main" id="{BDF5F779-20A7-838F-7E36-F85330106601}"/>
              </a:ext>
            </a:extLst>
          </p:cNvPr>
          <p:cNvPicPr>
            <a:picLocks noChangeAspect="1"/>
          </p:cNvPicPr>
          <p:nvPr/>
        </p:nvPicPr>
        <p:blipFill rotWithShape="1">
          <a:blip r:embed="rId3"/>
          <a:srcRect l="26767" r="22945" b="-1"/>
          <a:stretch/>
        </p:blipFill>
        <p:spPr>
          <a:xfrm>
            <a:off x="3847755" y="5"/>
            <a:ext cx="3686887" cy="4197368"/>
          </a:xfrm>
          <a:custGeom>
            <a:avLst/>
            <a:gdLst/>
            <a:ahLst/>
            <a:cxnLst/>
            <a:rect l="l" t="t" r="r" b="b"/>
            <a:pathLst>
              <a:path w="3686887" h="4197368">
                <a:moveTo>
                  <a:pt x="0" y="0"/>
                </a:moveTo>
                <a:lnTo>
                  <a:pt x="3686887" y="0"/>
                </a:lnTo>
                <a:lnTo>
                  <a:pt x="3686887" y="3832811"/>
                </a:lnTo>
                <a:lnTo>
                  <a:pt x="3497100" y="3826712"/>
                </a:lnTo>
                <a:cubicBezTo>
                  <a:pt x="3497100" y="3826712"/>
                  <a:pt x="3493758" y="3826712"/>
                  <a:pt x="3493758" y="3826712"/>
                </a:cubicBezTo>
                <a:cubicBezTo>
                  <a:pt x="3426914" y="3823370"/>
                  <a:pt x="3363416" y="3823370"/>
                  <a:pt x="3296571" y="3820027"/>
                </a:cubicBezTo>
                <a:cubicBezTo>
                  <a:pt x="3065966" y="3820027"/>
                  <a:pt x="2835360" y="3820027"/>
                  <a:pt x="2608095" y="3820027"/>
                </a:cubicBezTo>
                <a:cubicBezTo>
                  <a:pt x="2384173" y="3910265"/>
                  <a:pt x="2140198" y="3833396"/>
                  <a:pt x="1919619" y="3903581"/>
                </a:cubicBezTo>
                <a:cubicBezTo>
                  <a:pt x="1685670" y="3900239"/>
                  <a:pt x="1465092" y="3970423"/>
                  <a:pt x="1234485" y="4000503"/>
                </a:cubicBezTo>
                <a:cubicBezTo>
                  <a:pt x="1060693" y="4013871"/>
                  <a:pt x="883561" y="3997160"/>
                  <a:pt x="723139" y="4067345"/>
                </a:cubicBezTo>
                <a:cubicBezTo>
                  <a:pt x="661310" y="4095753"/>
                  <a:pt x="606165" y="4128339"/>
                  <a:pt x="583188" y="4172622"/>
                </a:cubicBezTo>
                <a:lnTo>
                  <a:pt x="575662" y="4197368"/>
                </a:lnTo>
                <a:lnTo>
                  <a:pt x="0" y="4197368"/>
                </a:lnTo>
                <a:close/>
              </a:path>
            </a:pathLst>
          </a:custGeom>
        </p:spPr>
      </p:pic>
      <p:pic>
        <p:nvPicPr>
          <p:cNvPr id="6" name="Resim 5" descr="metin, iç mekan, mutfak aleti içeren bir resim&#10;&#10;Açıklama otomatik olarak oluşturuldu">
            <a:extLst>
              <a:ext uri="{FF2B5EF4-FFF2-40B4-BE49-F238E27FC236}">
                <a16:creationId xmlns:a16="http://schemas.microsoft.com/office/drawing/2014/main" id="{4109F54A-ED30-71D2-A36B-D988455DB588}"/>
              </a:ext>
            </a:extLst>
          </p:cNvPr>
          <p:cNvPicPr>
            <a:picLocks noChangeAspect="1"/>
          </p:cNvPicPr>
          <p:nvPr/>
        </p:nvPicPr>
        <p:blipFill rotWithShape="1">
          <a:blip r:embed="rId4"/>
          <a:srcRect l="26208" r="7657"/>
          <a:stretch/>
        </p:blipFill>
        <p:spPr>
          <a:xfrm>
            <a:off x="7653541" y="1"/>
            <a:ext cx="4538463" cy="3877247"/>
          </a:xfrm>
          <a:custGeom>
            <a:avLst/>
            <a:gdLst/>
            <a:ahLst/>
            <a:cxnLst/>
            <a:rect l="l" t="t" r="r" b="b"/>
            <a:pathLst>
              <a:path w="4538463" h="3877247">
                <a:moveTo>
                  <a:pt x="0" y="0"/>
                </a:moveTo>
                <a:lnTo>
                  <a:pt x="4538463" y="0"/>
                </a:lnTo>
                <a:lnTo>
                  <a:pt x="4538463" y="3437173"/>
                </a:lnTo>
                <a:lnTo>
                  <a:pt x="4530710" y="3429000"/>
                </a:lnTo>
                <a:cubicBezTo>
                  <a:pt x="4370289" y="3495842"/>
                  <a:pt x="4239946" y="3686344"/>
                  <a:pt x="4056129" y="3636211"/>
                </a:cubicBezTo>
                <a:cubicBezTo>
                  <a:pt x="3872313" y="3589422"/>
                  <a:pt x="3788760" y="3830055"/>
                  <a:pt x="3618310" y="3756528"/>
                </a:cubicBezTo>
                <a:cubicBezTo>
                  <a:pt x="3394389" y="3823371"/>
                  <a:pt x="3163783" y="3823371"/>
                  <a:pt x="2933176" y="3810002"/>
                </a:cubicBezTo>
                <a:cubicBezTo>
                  <a:pt x="2702570" y="3840081"/>
                  <a:pt x="2471962" y="3873503"/>
                  <a:pt x="2238015" y="3850107"/>
                </a:cubicBezTo>
                <a:cubicBezTo>
                  <a:pt x="2007408" y="3870161"/>
                  <a:pt x="1783486" y="3883529"/>
                  <a:pt x="1552880" y="3863476"/>
                </a:cubicBezTo>
                <a:cubicBezTo>
                  <a:pt x="1322274" y="3886870"/>
                  <a:pt x="1091667" y="3876844"/>
                  <a:pt x="864402" y="3860134"/>
                </a:cubicBezTo>
                <a:cubicBezTo>
                  <a:pt x="757455" y="3860134"/>
                  <a:pt x="653849" y="3856792"/>
                  <a:pt x="546902" y="3856792"/>
                </a:cubicBezTo>
                <a:cubicBezTo>
                  <a:pt x="404861" y="3850108"/>
                  <a:pt x="262821" y="3845095"/>
                  <a:pt x="120363" y="3840499"/>
                </a:cubicBezTo>
                <a:lnTo>
                  <a:pt x="0" y="3836632"/>
                </a:lnTo>
                <a:close/>
              </a:path>
            </a:pathLst>
          </a:custGeom>
        </p:spPr>
      </p:pic>
      <p:pic>
        <p:nvPicPr>
          <p:cNvPr id="3" name="Resim 2">
            <a:extLst>
              <a:ext uri="{FF2B5EF4-FFF2-40B4-BE49-F238E27FC236}">
                <a16:creationId xmlns:a16="http://schemas.microsoft.com/office/drawing/2014/main" id="{0C37330E-C8D7-09C3-B3B1-F0A3E30E2158}"/>
              </a:ext>
            </a:extLst>
          </p:cNvPr>
          <p:cNvPicPr>
            <a:picLocks noChangeAspect="1"/>
          </p:cNvPicPr>
          <p:nvPr/>
        </p:nvPicPr>
        <p:blipFill rotWithShape="1">
          <a:blip r:embed="rId5"/>
          <a:srcRect t="10529" b="22895"/>
          <a:stretch/>
        </p:blipFill>
        <p:spPr>
          <a:xfrm>
            <a:off x="20" y="4297691"/>
            <a:ext cx="6836830" cy="2560309"/>
          </a:xfrm>
          <a:custGeom>
            <a:avLst/>
            <a:gdLst/>
            <a:ahLst/>
            <a:cxnLst/>
            <a:rect l="l" t="t" r="r" b="b"/>
            <a:pathLst>
              <a:path w="6836850" h="2541737">
                <a:moveTo>
                  <a:pt x="0" y="0"/>
                </a:moveTo>
                <a:lnTo>
                  <a:pt x="4460098" y="0"/>
                </a:lnTo>
                <a:lnTo>
                  <a:pt x="4483996" y="31836"/>
                </a:lnTo>
                <a:cubicBezTo>
                  <a:pt x="4644419" y="28495"/>
                  <a:pt x="4627708" y="282495"/>
                  <a:pt x="4788129" y="245732"/>
                </a:cubicBezTo>
                <a:cubicBezTo>
                  <a:pt x="4754709" y="362707"/>
                  <a:pt x="4641076" y="302548"/>
                  <a:pt x="4600971" y="389443"/>
                </a:cubicBezTo>
                <a:cubicBezTo>
                  <a:pt x="4684524" y="462970"/>
                  <a:pt x="4844945" y="409497"/>
                  <a:pt x="4871683" y="563233"/>
                </a:cubicBezTo>
                <a:cubicBezTo>
                  <a:pt x="4838262" y="723655"/>
                  <a:pt x="4945210" y="703602"/>
                  <a:pt x="5032105" y="713629"/>
                </a:cubicBezTo>
                <a:cubicBezTo>
                  <a:pt x="5239317" y="733683"/>
                  <a:pt x="5439843" y="747050"/>
                  <a:pt x="5643713" y="780472"/>
                </a:cubicBezTo>
                <a:cubicBezTo>
                  <a:pt x="5693844" y="790498"/>
                  <a:pt x="5810819" y="767103"/>
                  <a:pt x="5800794" y="870709"/>
                </a:cubicBezTo>
                <a:cubicBezTo>
                  <a:pt x="5790767" y="954261"/>
                  <a:pt x="5700529" y="924184"/>
                  <a:pt x="5643713" y="927525"/>
                </a:cubicBezTo>
                <a:cubicBezTo>
                  <a:pt x="5329553" y="967632"/>
                  <a:pt x="5012052" y="904131"/>
                  <a:pt x="4701235" y="907472"/>
                </a:cubicBezTo>
                <a:cubicBezTo>
                  <a:pt x="4664472" y="907472"/>
                  <a:pt x="4657787" y="1017762"/>
                  <a:pt x="4577576" y="980999"/>
                </a:cubicBezTo>
                <a:cubicBezTo>
                  <a:pt x="4788129" y="1081263"/>
                  <a:pt x="5767372" y="1108001"/>
                  <a:pt x="6094900" y="1161474"/>
                </a:cubicBezTo>
                <a:cubicBezTo>
                  <a:pt x="5754004" y="1542477"/>
                  <a:pt x="5429817" y="1311870"/>
                  <a:pt x="5159105" y="1525765"/>
                </a:cubicBezTo>
                <a:cubicBezTo>
                  <a:pt x="5159105" y="1525765"/>
                  <a:pt x="5212580" y="1525765"/>
                  <a:pt x="5443187" y="1595950"/>
                </a:cubicBezTo>
                <a:cubicBezTo>
                  <a:pt x="5627002" y="1652765"/>
                  <a:pt x="5536765" y="1732976"/>
                  <a:pt x="6001321" y="1886715"/>
                </a:cubicBezTo>
                <a:cubicBezTo>
                  <a:pt x="5824188" y="1936846"/>
                  <a:pt x="5593581" y="1839925"/>
                  <a:pt x="5506685" y="2100610"/>
                </a:cubicBezTo>
                <a:cubicBezTo>
                  <a:pt x="5643713" y="2147401"/>
                  <a:pt x="5807477" y="2103953"/>
                  <a:pt x="5904398" y="2227611"/>
                </a:cubicBezTo>
                <a:cubicBezTo>
                  <a:pt x="5934478" y="2264375"/>
                  <a:pt x="5964557" y="2287770"/>
                  <a:pt x="6001321" y="2307821"/>
                </a:cubicBezTo>
                <a:cubicBezTo>
                  <a:pt x="5984612" y="2314507"/>
                  <a:pt x="5964557" y="2321190"/>
                  <a:pt x="5951188" y="2327874"/>
                </a:cubicBezTo>
                <a:cubicBezTo>
                  <a:pt x="5977925" y="2351271"/>
                  <a:pt x="6663060" y="2478270"/>
                  <a:pt x="6836850" y="2481613"/>
                </a:cubicBezTo>
                <a:cubicBezTo>
                  <a:pt x="6761652" y="2506679"/>
                  <a:pt x="6636845" y="2527828"/>
                  <a:pt x="6553814" y="2540165"/>
                </a:cubicBezTo>
                <a:lnTo>
                  <a:pt x="6542822" y="2541737"/>
                </a:lnTo>
                <a:lnTo>
                  <a:pt x="0" y="2541737"/>
                </a:lnTo>
                <a:close/>
              </a:path>
            </a:pathLst>
          </a:custGeom>
        </p:spPr>
      </p:pic>
      <p:sp>
        <p:nvSpPr>
          <p:cNvPr id="4" name="Metin kutusu 3">
            <a:extLst>
              <a:ext uri="{FF2B5EF4-FFF2-40B4-BE49-F238E27FC236}">
                <a16:creationId xmlns:a16="http://schemas.microsoft.com/office/drawing/2014/main" id="{919FA580-A169-48E1-E874-A0FECD32C8FF}"/>
              </a:ext>
            </a:extLst>
          </p:cNvPr>
          <p:cNvSpPr txBox="1"/>
          <p:nvPr/>
        </p:nvSpPr>
        <p:spPr>
          <a:xfrm>
            <a:off x="6343650" y="4181474"/>
            <a:ext cx="5505814" cy="1471335"/>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4400" b="1" kern="1200">
                <a:solidFill>
                  <a:schemeClr val="tx1"/>
                </a:solidFill>
                <a:latin typeface="+mj-lt"/>
                <a:ea typeface="+mj-ea"/>
                <a:cs typeface="+mj-cs"/>
              </a:rPr>
              <a:t>Madeni Yağ Analizleri</a:t>
            </a:r>
          </a:p>
        </p:txBody>
      </p:sp>
    </p:spTree>
    <p:extLst>
      <p:ext uri="{BB962C8B-B14F-4D97-AF65-F5344CB8AC3E}">
        <p14:creationId xmlns:p14="http://schemas.microsoft.com/office/powerpoint/2010/main" val="324344639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A26C624C-963C-4795-B05B-6565DB5AB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Resim 7">
            <a:extLst>
              <a:ext uri="{FF2B5EF4-FFF2-40B4-BE49-F238E27FC236}">
                <a16:creationId xmlns:a16="http://schemas.microsoft.com/office/drawing/2014/main" id="{F3810EC3-85BC-72FD-347D-ED07C2729A46}"/>
              </a:ext>
            </a:extLst>
          </p:cNvPr>
          <p:cNvPicPr>
            <a:picLocks noChangeAspect="1"/>
          </p:cNvPicPr>
          <p:nvPr/>
        </p:nvPicPr>
        <p:blipFill rotWithShape="1">
          <a:blip r:embed="rId2"/>
          <a:srcRect l="9653" r="23718" b="-1"/>
          <a:stretch/>
        </p:blipFill>
        <p:spPr>
          <a:xfrm>
            <a:off x="3963314" y="10"/>
            <a:ext cx="3444452" cy="3877238"/>
          </a:xfrm>
          <a:prstGeom prst="rect">
            <a:avLst/>
          </a:prstGeom>
        </p:spPr>
      </p:pic>
      <p:pic>
        <p:nvPicPr>
          <p:cNvPr id="7" name="Resim 6">
            <a:extLst>
              <a:ext uri="{FF2B5EF4-FFF2-40B4-BE49-F238E27FC236}">
                <a16:creationId xmlns:a16="http://schemas.microsoft.com/office/drawing/2014/main" id="{E60D45BA-AEBA-716D-1EA9-C9371BA6F2FC}"/>
              </a:ext>
            </a:extLst>
          </p:cNvPr>
          <p:cNvPicPr>
            <a:picLocks noChangeAspect="1"/>
          </p:cNvPicPr>
          <p:nvPr/>
        </p:nvPicPr>
        <p:blipFill rotWithShape="1">
          <a:blip r:embed="rId3"/>
          <a:srcRect l="26149" r="25100"/>
          <a:stretch/>
        </p:blipFill>
        <p:spPr>
          <a:xfrm>
            <a:off x="-3052" y="0"/>
            <a:ext cx="3775008" cy="4297690"/>
          </a:xfrm>
          <a:custGeom>
            <a:avLst/>
            <a:gdLst/>
            <a:ahLst/>
            <a:cxnLst/>
            <a:rect l="l" t="t" r="r" b="b"/>
            <a:pathLst>
              <a:path w="3686887" h="4197368">
                <a:moveTo>
                  <a:pt x="0" y="0"/>
                </a:moveTo>
                <a:lnTo>
                  <a:pt x="3686887" y="0"/>
                </a:lnTo>
                <a:lnTo>
                  <a:pt x="3686887" y="3832811"/>
                </a:lnTo>
                <a:lnTo>
                  <a:pt x="3497100" y="3826712"/>
                </a:lnTo>
                <a:cubicBezTo>
                  <a:pt x="3497100" y="3826712"/>
                  <a:pt x="3493758" y="3826712"/>
                  <a:pt x="3493758" y="3826712"/>
                </a:cubicBezTo>
                <a:cubicBezTo>
                  <a:pt x="3426914" y="3823370"/>
                  <a:pt x="3363416" y="3823370"/>
                  <a:pt x="3296571" y="3820027"/>
                </a:cubicBezTo>
                <a:cubicBezTo>
                  <a:pt x="3065966" y="3820027"/>
                  <a:pt x="2835360" y="3820027"/>
                  <a:pt x="2608095" y="3820027"/>
                </a:cubicBezTo>
                <a:cubicBezTo>
                  <a:pt x="2384173" y="3910265"/>
                  <a:pt x="2140198" y="3833396"/>
                  <a:pt x="1919619" y="3903581"/>
                </a:cubicBezTo>
                <a:cubicBezTo>
                  <a:pt x="1685670" y="3900239"/>
                  <a:pt x="1465092" y="3970423"/>
                  <a:pt x="1234485" y="4000503"/>
                </a:cubicBezTo>
                <a:cubicBezTo>
                  <a:pt x="1060693" y="4013871"/>
                  <a:pt x="883561" y="3997160"/>
                  <a:pt x="723139" y="4067345"/>
                </a:cubicBezTo>
                <a:cubicBezTo>
                  <a:pt x="661310" y="4095753"/>
                  <a:pt x="606165" y="4128339"/>
                  <a:pt x="583188" y="4172622"/>
                </a:cubicBezTo>
                <a:lnTo>
                  <a:pt x="575662" y="4197368"/>
                </a:lnTo>
                <a:lnTo>
                  <a:pt x="0" y="4197368"/>
                </a:lnTo>
                <a:close/>
              </a:path>
            </a:pathLst>
          </a:custGeom>
        </p:spPr>
      </p:pic>
      <p:pic>
        <p:nvPicPr>
          <p:cNvPr id="10" name="Resim 9">
            <a:extLst>
              <a:ext uri="{FF2B5EF4-FFF2-40B4-BE49-F238E27FC236}">
                <a16:creationId xmlns:a16="http://schemas.microsoft.com/office/drawing/2014/main" id="{B50E006C-0595-5D15-3874-7E47D20A6F5D}"/>
              </a:ext>
            </a:extLst>
          </p:cNvPr>
          <p:cNvPicPr>
            <a:picLocks noChangeAspect="1"/>
          </p:cNvPicPr>
          <p:nvPr/>
        </p:nvPicPr>
        <p:blipFill rotWithShape="1">
          <a:blip r:embed="rId4"/>
          <a:srcRect l="3150" r="9059" b="-1"/>
          <a:stretch/>
        </p:blipFill>
        <p:spPr>
          <a:xfrm>
            <a:off x="7653541" y="1"/>
            <a:ext cx="4538463" cy="3877247"/>
          </a:xfrm>
          <a:custGeom>
            <a:avLst/>
            <a:gdLst/>
            <a:ahLst/>
            <a:cxnLst/>
            <a:rect l="l" t="t" r="r" b="b"/>
            <a:pathLst>
              <a:path w="4538463" h="3877247">
                <a:moveTo>
                  <a:pt x="0" y="0"/>
                </a:moveTo>
                <a:lnTo>
                  <a:pt x="4538463" y="0"/>
                </a:lnTo>
                <a:lnTo>
                  <a:pt x="4538463" y="3437173"/>
                </a:lnTo>
                <a:lnTo>
                  <a:pt x="4530710" y="3429000"/>
                </a:lnTo>
                <a:cubicBezTo>
                  <a:pt x="4370289" y="3495842"/>
                  <a:pt x="4239946" y="3686344"/>
                  <a:pt x="4056129" y="3636211"/>
                </a:cubicBezTo>
                <a:cubicBezTo>
                  <a:pt x="3872313" y="3589422"/>
                  <a:pt x="3788760" y="3830055"/>
                  <a:pt x="3618310" y="3756528"/>
                </a:cubicBezTo>
                <a:cubicBezTo>
                  <a:pt x="3394389" y="3823371"/>
                  <a:pt x="3163783" y="3823371"/>
                  <a:pt x="2933176" y="3810002"/>
                </a:cubicBezTo>
                <a:cubicBezTo>
                  <a:pt x="2702570" y="3840081"/>
                  <a:pt x="2471962" y="3873503"/>
                  <a:pt x="2238015" y="3850107"/>
                </a:cubicBezTo>
                <a:cubicBezTo>
                  <a:pt x="2007408" y="3870161"/>
                  <a:pt x="1783486" y="3883529"/>
                  <a:pt x="1552880" y="3863476"/>
                </a:cubicBezTo>
                <a:cubicBezTo>
                  <a:pt x="1322274" y="3886870"/>
                  <a:pt x="1091667" y="3876844"/>
                  <a:pt x="864402" y="3860134"/>
                </a:cubicBezTo>
                <a:cubicBezTo>
                  <a:pt x="757455" y="3860134"/>
                  <a:pt x="653849" y="3856792"/>
                  <a:pt x="546902" y="3856792"/>
                </a:cubicBezTo>
                <a:cubicBezTo>
                  <a:pt x="404861" y="3850108"/>
                  <a:pt x="262821" y="3845095"/>
                  <a:pt x="120363" y="3840499"/>
                </a:cubicBezTo>
                <a:lnTo>
                  <a:pt x="0" y="3836632"/>
                </a:lnTo>
                <a:close/>
              </a:path>
            </a:pathLst>
          </a:custGeom>
        </p:spPr>
      </p:pic>
      <p:pic>
        <p:nvPicPr>
          <p:cNvPr id="2" name="Resim 1">
            <a:extLst>
              <a:ext uri="{FF2B5EF4-FFF2-40B4-BE49-F238E27FC236}">
                <a16:creationId xmlns:a16="http://schemas.microsoft.com/office/drawing/2014/main" id="{AE9AF42E-C792-531F-965C-714C94B80118}"/>
              </a:ext>
            </a:extLst>
          </p:cNvPr>
          <p:cNvPicPr>
            <a:picLocks noChangeAspect="1"/>
          </p:cNvPicPr>
          <p:nvPr/>
        </p:nvPicPr>
        <p:blipFill rotWithShape="1">
          <a:blip r:embed="rId5"/>
          <a:srcRect t="6760" b="28111"/>
          <a:stretch/>
        </p:blipFill>
        <p:spPr>
          <a:xfrm>
            <a:off x="20" y="4297691"/>
            <a:ext cx="6836830" cy="2560309"/>
          </a:xfrm>
          <a:custGeom>
            <a:avLst/>
            <a:gdLst/>
            <a:ahLst/>
            <a:cxnLst/>
            <a:rect l="l" t="t" r="r" b="b"/>
            <a:pathLst>
              <a:path w="6836850" h="2541737">
                <a:moveTo>
                  <a:pt x="0" y="0"/>
                </a:moveTo>
                <a:lnTo>
                  <a:pt x="4460098" y="0"/>
                </a:lnTo>
                <a:lnTo>
                  <a:pt x="4483996" y="31836"/>
                </a:lnTo>
                <a:cubicBezTo>
                  <a:pt x="4644419" y="28495"/>
                  <a:pt x="4627708" y="282495"/>
                  <a:pt x="4788129" y="245732"/>
                </a:cubicBezTo>
                <a:cubicBezTo>
                  <a:pt x="4754709" y="362707"/>
                  <a:pt x="4641076" y="302548"/>
                  <a:pt x="4600971" y="389443"/>
                </a:cubicBezTo>
                <a:cubicBezTo>
                  <a:pt x="4684524" y="462970"/>
                  <a:pt x="4844945" y="409497"/>
                  <a:pt x="4871683" y="563233"/>
                </a:cubicBezTo>
                <a:cubicBezTo>
                  <a:pt x="4838262" y="723655"/>
                  <a:pt x="4945210" y="703602"/>
                  <a:pt x="5032105" y="713629"/>
                </a:cubicBezTo>
                <a:cubicBezTo>
                  <a:pt x="5239317" y="733683"/>
                  <a:pt x="5439843" y="747050"/>
                  <a:pt x="5643713" y="780472"/>
                </a:cubicBezTo>
                <a:cubicBezTo>
                  <a:pt x="5693844" y="790498"/>
                  <a:pt x="5810819" y="767103"/>
                  <a:pt x="5800794" y="870709"/>
                </a:cubicBezTo>
                <a:cubicBezTo>
                  <a:pt x="5790767" y="954261"/>
                  <a:pt x="5700529" y="924184"/>
                  <a:pt x="5643713" y="927525"/>
                </a:cubicBezTo>
                <a:cubicBezTo>
                  <a:pt x="5329553" y="967632"/>
                  <a:pt x="5012052" y="904131"/>
                  <a:pt x="4701235" y="907472"/>
                </a:cubicBezTo>
                <a:cubicBezTo>
                  <a:pt x="4664472" y="907472"/>
                  <a:pt x="4657787" y="1017762"/>
                  <a:pt x="4577576" y="980999"/>
                </a:cubicBezTo>
                <a:cubicBezTo>
                  <a:pt x="4788129" y="1081263"/>
                  <a:pt x="5767372" y="1108001"/>
                  <a:pt x="6094900" y="1161474"/>
                </a:cubicBezTo>
                <a:cubicBezTo>
                  <a:pt x="5754004" y="1542477"/>
                  <a:pt x="5429817" y="1311870"/>
                  <a:pt x="5159105" y="1525765"/>
                </a:cubicBezTo>
                <a:cubicBezTo>
                  <a:pt x="5159105" y="1525765"/>
                  <a:pt x="5212580" y="1525765"/>
                  <a:pt x="5443187" y="1595950"/>
                </a:cubicBezTo>
                <a:cubicBezTo>
                  <a:pt x="5627002" y="1652765"/>
                  <a:pt x="5536765" y="1732976"/>
                  <a:pt x="6001321" y="1886715"/>
                </a:cubicBezTo>
                <a:cubicBezTo>
                  <a:pt x="5824188" y="1936846"/>
                  <a:pt x="5593581" y="1839925"/>
                  <a:pt x="5506685" y="2100610"/>
                </a:cubicBezTo>
                <a:cubicBezTo>
                  <a:pt x="5643713" y="2147401"/>
                  <a:pt x="5807477" y="2103953"/>
                  <a:pt x="5904398" y="2227611"/>
                </a:cubicBezTo>
                <a:cubicBezTo>
                  <a:pt x="5934478" y="2264375"/>
                  <a:pt x="5964557" y="2287770"/>
                  <a:pt x="6001321" y="2307821"/>
                </a:cubicBezTo>
                <a:cubicBezTo>
                  <a:pt x="5984612" y="2314507"/>
                  <a:pt x="5964557" y="2321190"/>
                  <a:pt x="5951188" y="2327874"/>
                </a:cubicBezTo>
                <a:cubicBezTo>
                  <a:pt x="5977925" y="2351271"/>
                  <a:pt x="6663060" y="2478270"/>
                  <a:pt x="6836850" y="2481613"/>
                </a:cubicBezTo>
                <a:cubicBezTo>
                  <a:pt x="6761652" y="2506679"/>
                  <a:pt x="6636845" y="2527828"/>
                  <a:pt x="6553814" y="2540165"/>
                </a:cubicBezTo>
                <a:lnTo>
                  <a:pt x="6542822" y="2541737"/>
                </a:lnTo>
                <a:lnTo>
                  <a:pt x="0" y="2541737"/>
                </a:lnTo>
                <a:close/>
              </a:path>
            </a:pathLst>
          </a:custGeom>
        </p:spPr>
      </p:pic>
      <p:sp>
        <p:nvSpPr>
          <p:cNvPr id="4" name="Metin kutusu 3">
            <a:extLst>
              <a:ext uri="{FF2B5EF4-FFF2-40B4-BE49-F238E27FC236}">
                <a16:creationId xmlns:a16="http://schemas.microsoft.com/office/drawing/2014/main" id="{919FA580-A169-48E1-E874-A0FECD32C8FF}"/>
              </a:ext>
            </a:extLst>
          </p:cNvPr>
          <p:cNvSpPr txBox="1"/>
          <p:nvPr/>
        </p:nvSpPr>
        <p:spPr>
          <a:xfrm>
            <a:off x="6343650" y="4181474"/>
            <a:ext cx="5505814" cy="1471335"/>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4400" b="1" kern="1200">
                <a:solidFill>
                  <a:schemeClr val="tx1"/>
                </a:solidFill>
                <a:latin typeface="+mj-lt"/>
                <a:ea typeface="+mj-ea"/>
                <a:cs typeface="+mj-cs"/>
              </a:rPr>
              <a:t>Tahribatsız Muayene Yöntemleri</a:t>
            </a:r>
          </a:p>
        </p:txBody>
      </p:sp>
    </p:spTree>
    <p:extLst>
      <p:ext uri="{BB962C8B-B14F-4D97-AF65-F5344CB8AC3E}">
        <p14:creationId xmlns:p14="http://schemas.microsoft.com/office/powerpoint/2010/main" val="346746735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MIO_SLIDE_HEADER" val="1"/>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TotalTime>
  <Words>677</Words>
  <Application>Microsoft Office PowerPoint</Application>
  <PresentationFormat>Geniş ekran</PresentationFormat>
  <Paragraphs>79</Paragraphs>
  <Slides>26</Slides>
  <Notes>3</Notes>
  <HiddenSlides>0</HiddenSlides>
  <MMClips>0</MMClips>
  <ScaleCrop>false</ScaleCrop>
  <HeadingPairs>
    <vt:vector size="6" baseType="variant">
      <vt:variant>
        <vt:lpstr>Kullanılan Yazı Tipleri</vt:lpstr>
      </vt:variant>
      <vt:variant>
        <vt:i4>6</vt:i4>
      </vt:variant>
      <vt:variant>
        <vt:lpstr>Tema</vt:lpstr>
      </vt:variant>
      <vt:variant>
        <vt:i4>1</vt:i4>
      </vt:variant>
      <vt:variant>
        <vt:lpstr>Slayt Başlıkları</vt:lpstr>
      </vt:variant>
      <vt:variant>
        <vt:i4>26</vt:i4>
      </vt:variant>
    </vt:vector>
  </HeadingPairs>
  <TitlesOfParts>
    <vt:vector size="33" baseType="lpstr">
      <vt:lpstr>Arial</vt:lpstr>
      <vt:lpstr>Calibri</vt:lpstr>
      <vt:lpstr>Calibri Light</vt:lpstr>
      <vt:lpstr>Frutiger Cn</vt:lpstr>
      <vt:lpstr>Times New Roman</vt:lpstr>
      <vt:lpstr>Wingdings</vt:lpstr>
      <vt:lpstr>Office Teması</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Neden Makina Sağlığı İzleme Sistemlerinde Vibrasyon Ölçümü? </vt:lpstr>
      <vt:lpstr>PowerPoint Sunusu</vt:lpstr>
      <vt:lpstr>PowerPoint Sunusu</vt:lpstr>
      <vt:lpstr>PowerPoint Sunusu</vt:lpstr>
      <vt:lpstr>Vibmer Muhendislik ve Schaeffler olarak işletmelerinizin Bakım 4.0 kapsamında akıllı ve dijital fabrikalara dönüştürülmesine talibiz. </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Melek Karadağ</dc:creator>
  <cp:lastModifiedBy>vibmer muhendislik</cp:lastModifiedBy>
  <cp:revision>13</cp:revision>
  <dcterms:created xsi:type="dcterms:W3CDTF">2023-03-08T14:19:06Z</dcterms:created>
  <dcterms:modified xsi:type="dcterms:W3CDTF">2023-05-04T08:05:42Z</dcterms:modified>
</cp:coreProperties>
</file>